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7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8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9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1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2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1" r:id="rId2"/>
    <p:sldMasterId id="2147483692" r:id="rId3"/>
    <p:sldMasterId id="2147483703" r:id="rId4"/>
    <p:sldMasterId id="2147483709" r:id="rId5"/>
    <p:sldMasterId id="2147483721" r:id="rId6"/>
    <p:sldMasterId id="2147483728" r:id="rId7"/>
    <p:sldMasterId id="2147483765" r:id="rId8"/>
    <p:sldMasterId id="2147483777" r:id="rId9"/>
    <p:sldMasterId id="2147483793" r:id="rId10"/>
    <p:sldMasterId id="2147483797" r:id="rId11"/>
    <p:sldMasterId id="2147483809" r:id="rId12"/>
    <p:sldMasterId id="2147483825" r:id="rId13"/>
  </p:sldMasterIdLst>
  <p:notesMasterIdLst>
    <p:notesMasterId r:id="rId24"/>
  </p:notesMasterIdLst>
  <p:sldIdLst>
    <p:sldId id="16765014" r:id="rId14"/>
    <p:sldId id="479" r:id="rId15"/>
    <p:sldId id="16764996" r:id="rId16"/>
    <p:sldId id="362" r:id="rId17"/>
    <p:sldId id="257" r:id="rId18"/>
    <p:sldId id="16765009" r:id="rId19"/>
    <p:sldId id="16765016" r:id="rId20"/>
    <p:sldId id="16765011" r:id="rId21"/>
    <p:sldId id="16765007" r:id="rId22"/>
    <p:sldId id="16764990" r:id="rId2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SOC%20JUNE%202022\2025\A%20SOC%202025%20reporting\monthly\Mar%202025\daily%20%20monthly%20report%20March%202025%20star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SOC%20JUNE%202022\2025\A%20SOC%202025%20reporting\monthly\Mar%202025\daily%20%20monthly%20report%20March%202025%20star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>
              <a:defRPr lang="en-US"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FVAS &amp; Solution September Maintena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5376344086021497E-2"/>
          <c:y val="0.19328703703703701"/>
          <c:w val="0.88580645161290295"/>
          <c:h val="0.71097222222222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om for 3 months '!$B$3</c:f>
              <c:strCache>
                <c:ptCount val="1"/>
                <c:pt idx="0">
                  <c:v>Maintenan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m for 3 months '!$C$2:$E$2</c:f>
              <c:strCache>
                <c:ptCount val="3"/>
                <c:pt idx="0">
                  <c:v>week 41</c:v>
                </c:pt>
                <c:pt idx="1">
                  <c:v>week 42</c:v>
                </c:pt>
                <c:pt idx="2">
                  <c:v>Week 43</c:v>
                </c:pt>
              </c:strCache>
            </c:strRef>
          </c:cat>
          <c:val>
            <c:numRef>
              <c:f>'com for 3 months '!$C$3:$E$3</c:f>
              <c:numCache>
                <c:formatCode>General</c:formatCode>
                <c:ptCount val="3"/>
                <c:pt idx="0">
                  <c:v>931</c:v>
                </c:pt>
                <c:pt idx="1">
                  <c:v>871</c:v>
                </c:pt>
                <c:pt idx="2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51-49DB-B8E2-CF5C9C18343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46"/>
        <c:overlap val="-28"/>
        <c:axId val="554254240"/>
        <c:axId val="554254568"/>
      </c:barChart>
      <c:catAx>
        <c:axId val="554254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sz="9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254568"/>
        <c:crosses val="autoZero"/>
        <c:auto val="1"/>
        <c:lblAlgn val="ctr"/>
        <c:lblOffset val="100"/>
        <c:noMultiLvlLbl val="0"/>
      </c:catAx>
      <c:valAx>
        <c:axId val="554254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02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sz="9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25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uri="{0b15fc19-7d7d-44ad-8c2d-2c3a37ce22c3}">
        <chartProps xmlns="https://web.wps.cn/et/2018/main" chartId="{38037e9e-97d9-4ee0-855b-7572a9c40f62}"/>
      </c:ext>
    </c:extLst>
  </c:chart>
  <c:spPr>
    <a:noFill/>
    <a:ln>
      <a:noFill/>
    </a:ln>
    <a:effectLst/>
  </c:spPr>
  <c:txPr>
    <a:bodyPr/>
    <a:lstStyle/>
    <a:p>
      <a:pPr>
        <a:defRPr lang="en-US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>
              <a:defRPr lang="en-US"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bg1"/>
                </a:solidFill>
              </a:rPr>
              <a:t>FVAS &amp; Solution September Provision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US" sz="14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m for 3 months '!$G$3</c:f>
              <c:strCache>
                <c:ptCount val="1"/>
                <c:pt idx="0">
                  <c:v>Provisioning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m for 3 months '!$H$2:$J$2</c:f>
              <c:strCache>
                <c:ptCount val="3"/>
                <c:pt idx="0">
                  <c:v>week 41</c:v>
                </c:pt>
                <c:pt idx="1">
                  <c:v>week 42</c:v>
                </c:pt>
                <c:pt idx="2">
                  <c:v>Week 43</c:v>
                </c:pt>
              </c:strCache>
            </c:strRef>
          </c:cat>
          <c:val>
            <c:numRef>
              <c:f>'com for 3 months '!$H$3:$J$3</c:f>
              <c:numCache>
                <c:formatCode>General</c:formatCode>
                <c:ptCount val="3"/>
                <c:pt idx="0">
                  <c:v>200</c:v>
                </c:pt>
                <c:pt idx="1">
                  <c:v>109</c:v>
                </c:pt>
                <c:pt idx="2">
                  <c:v>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26-488F-8F70-17C1C0E473F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46"/>
        <c:overlap val="-28"/>
        <c:axId val="590298240"/>
        <c:axId val="590300864"/>
      </c:barChart>
      <c:catAx>
        <c:axId val="590298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sz="9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300864"/>
        <c:crosses val="autoZero"/>
        <c:auto val="1"/>
        <c:lblAlgn val="ctr"/>
        <c:lblOffset val="100"/>
        <c:noMultiLvlLbl val="0"/>
      </c:catAx>
      <c:valAx>
        <c:axId val="590300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02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US" sz="9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298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uri="{0b15fc19-7d7d-44ad-8c2d-2c3a37ce22c3}">
        <chartProps xmlns="https://web.wps.cn/et/2018/main" chartId="{a0d30c9a-13f2-47c9-9fb0-64240298f6aa}"/>
      </c:ext>
    </c:extLst>
  </c:chart>
  <c:spPr>
    <a:noFill/>
    <a:ln>
      <a:noFill/>
    </a:ln>
    <a:effectLst/>
  </c:spPr>
  <c:txPr>
    <a:bodyPr/>
    <a:lstStyle/>
    <a:p>
      <a:pPr>
        <a:defRPr lang="en-US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500" b="1" i="0" u="none" strike="noStrike" kern="1200" cap="all" spc="100" normalizeH="0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C$1</c:f>
              <c:strCache>
                <c:ptCount val="1"/>
                <c:pt idx="0">
                  <c:v>The Number of Activities Performed</c:v>
                </c:pt>
              </c:strCache>
            </c:strRef>
          </c:tx>
          <c:spPr>
            <a:pattFill prst="ltUpDiag">
              <a:fgClr>
                <a:schemeClr val="accent1"/>
              </a:fgClr>
              <a:bgClr>
                <a:schemeClr val="lt1"/>
              </a:bgClr>
            </a:pattFill>
            <a:ln>
              <a:noFill/>
            </a:ln>
            <a:effectLst/>
          </c:spPr>
          <c:invertIfNegative val="0"/>
          <c:dLbls>
            <c:spPr>
              <a:solidFill>
                <a:srgbClr val="156082">
                  <a:alpha val="7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3!$B$2:$B$6</c:f>
              <c:strCache>
                <c:ptCount val="5"/>
                <c:pt idx="0">
                  <c:v>Short number terminate from Fixed Number ,ISDN , SIP and SMS order closed (10)</c:v>
                </c:pt>
                <c:pt idx="1">
                  <c:v>Short code 3 and 4 Digits configuration for Fixed Number, ISDN SIP service and SMS orders closed (09)</c:v>
                </c:pt>
                <c:pt idx="2">
                  <c:v>IMS  SIP, GPON Combo service configuration (02)</c:v>
                </c:pt>
                <c:pt idx="3">
                  <c:v>Online Support PSTN Migration,Incoming and Outgoing call solution,Caller Id Display,Routing for O&amp;M, Enterprise &amp; Others Stakeholders (06)</c:v>
                </c:pt>
                <c:pt idx="4">
                  <c:v>Centrex group configuration(Hunting as PBX) (01)</c:v>
                </c:pt>
              </c:strCache>
            </c:strRef>
          </c:cat>
          <c:val>
            <c:numRef>
              <c:f>Sheet3!$C$2:$C$6</c:f>
              <c:numCache>
                <c:formatCode>General</c:formatCode>
                <c:ptCount val="5"/>
                <c:pt idx="0">
                  <c:v>5</c:v>
                </c:pt>
                <c:pt idx="1">
                  <c:v>9</c:v>
                </c:pt>
                <c:pt idx="2">
                  <c:v>10</c:v>
                </c:pt>
                <c:pt idx="3">
                  <c:v>277</c:v>
                </c:pt>
                <c:pt idx="4">
                  <c:v>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42-47ED-ACFE-02DF46DF75D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0"/>
        <c:axId val="541830880"/>
        <c:axId val="541829080"/>
      </c:barChart>
      <c:catAx>
        <c:axId val="541830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accent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cap="all" spc="150" normalizeH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1829080"/>
        <c:crosses val="autoZero"/>
        <c:auto val="1"/>
        <c:lblAlgn val="ctr"/>
        <c:lblOffset val="100"/>
        <c:noMultiLvlLbl val="0"/>
      </c:catAx>
      <c:valAx>
        <c:axId val="541829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183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uri="{0b15fc19-7d7d-44ad-8c2d-2c3a37ce22c3}">
        <chartProps xmlns="https://web.wps.cn/et/2018/main" chartId="{dc280bca-c69a-4325-a776-12c113bf165e}"/>
      </c:ext>
    </c:extLst>
  </c:chart>
  <c:spPr>
    <a:solidFill>
      <a:schemeClr val="accent1"/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 lang="en-US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0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0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4">
  <cs:axisTitle>
    <cs:lnRef idx="0"/>
    <cs:fillRef idx="0"/>
    <cs:effectRef idx="0"/>
    <cs:fontRef idx="minor">
      <a:schemeClr val="lt1"/>
    </cs:fontRef>
    <cs:defRPr sz="900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800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900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900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900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500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900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92CD00-ECB8-4BC8-96B1-5EEC1E2C9247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1B8B0-3CD6-49C1-820F-396A35FA27A3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C1DE5D8-3F78-4DFB-A08F-EC9799E5DC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3A428EC-C0D7-F745-B4CD-6258195891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3A428EC-C0D7-F745-B4CD-6258195891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ea typeface="MS PGothic" panose="020B0600070205080204" charset="-128"/>
                <a:cs typeface="+mn-cs"/>
              </a:r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MS PGothic" panose="020B060007020508020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3A428EC-C0D7-F745-B4CD-6258195891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ea typeface="MS PGothic" panose="020B0600070205080204" charset="-128"/>
                <a:cs typeface="+mn-cs"/>
              </a:r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MS PGothic" panose="020B060007020508020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3A428EC-C0D7-F745-B4CD-6258195891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53.jpeg"/><Relationship Id="rId4" Type="http://schemas.openxmlformats.org/officeDocument/2006/relationships/image" Target="../media/image22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.xml"/><Relationship Id="rId4" Type="http://schemas.openxmlformats.org/officeDocument/2006/relationships/image" Target="../media/image26.emf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9.png"/><Relationship Id="rId4" Type="http://schemas.openxmlformats.org/officeDocument/2006/relationships/image" Target="../media/image2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2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2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26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7" Type="http://schemas.openxmlformats.org/officeDocument/2006/relationships/image" Target="../media/image28.pn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26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9.emf"/><Relationship Id="rId4" Type="http://schemas.openxmlformats.org/officeDocument/2006/relationships/image" Target="../media/image37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8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3.emf"/><Relationship Id="rId4" Type="http://schemas.openxmlformats.org/officeDocument/2006/relationships/image" Target="../media/image45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2.emf"/><Relationship Id="rId4" Type="http://schemas.openxmlformats.org/officeDocument/2006/relationships/image" Target="../media/image50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2.emf"/><Relationship Id="rId4" Type="http://schemas.openxmlformats.org/officeDocument/2006/relationships/image" Target="../media/image33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5269" y="1122363"/>
            <a:ext cx="9001462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5269" y="3602038"/>
            <a:ext cx="90014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289372"/>
            <a:ext cx="10367564" cy="81935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3806" y="621321"/>
            <a:ext cx="10367564" cy="3379735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65998" cy="68247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3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39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7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58" name="Picture 7"/>
          <p:cNvPicPr>
            <a:picLocks noChangeAspect="1"/>
          </p:cNvPicPr>
          <p:nvPr/>
        </p:nvPicPr>
        <p:blipFill>
          <a:blip r:embed="rId2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0" name="TextBox 3"/>
          <p:cNvSpPr txBox="1">
            <a:spLocks noChangeArrowheads="1"/>
          </p:cNvSpPr>
          <p:nvPr/>
        </p:nvSpPr>
        <p:spPr bwMode="auto">
          <a:xfrm>
            <a:off x="7315200" y="0"/>
            <a:ext cx="4876800" cy="484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59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28638"/>
            <a:ext cx="3149600" cy="7080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1" name="Title 1"/>
          <p:cNvSpPr>
            <a:spLocks noGrp="1"/>
          </p:cNvSpPr>
          <p:nvPr>
            <p:ph type="title"/>
          </p:nvPr>
        </p:nvSpPr>
        <p:spPr>
          <a:xfrm>
            <a:off x="1117600" y="276606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325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77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496888"/>
            <a:ext cx="3289300" cy="738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78" name="Picture 8"/>
          <p:cNvPicPr>
            <a:picLocks noChangeAspect="1"/>
          </p:cNvPicPr>
          <p:nvPr/>
        </p:nvPicPr>
        <p:blipFill>
          <a:blip r:embed="rId3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34" name="TextBox 4"/>
          <p:cNvSpPr txBox="1">
            <a:spLocks noChangeArrowheads="1"/>
          </p:cNvSpPr>
          <p:nvPr/>
        </p:nvSpPr>
        <p:spPr bwMode="auto">
          <a:xfrm>
            <a:off x="7213600" y="0"/>
            <a:ext cx="4876800" cy="484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9035" name="Title 1"/>
          <p:cNvSpPr>
            <a:spLocks noGrp="1"/>
          </p:cNvSpPr>
          <p:nvPr>
            <p:ph type="title"/>
          </p:nvPr>
        </p:nvSpPr>
        <p:spPr>
          <a:xfrm>
            <a:off x="838200" y="2766060"/>
            <a:ext cx="10515600" cy="1325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0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9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30225"/>
            <a:ext cx="3149600" cy="70643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5" name="Title 1"/>
          <p:cNvSpPr>
            <a:spLocks noGrp="1"/>
          </p:cNvSpPr>
          <p:nvPr>
            <p:ph type="title"/>
          </p:nvPr>
        </p:nvSpPr>
        <p:spPr>
          <a:xfrm>
            <a:off x="609600" y="2766060"/>
            <a:ext cx="9601200" cy="1325880"/>
          </a:xfrm>
          <a:prstGeom prst="rect">
            <a:avLst/>
          </a:prstGeom>
        </p:spPr>
        <p:txBody>
          <a:bodyPr/>
          <a:lstStyle>
            <a:lvl1pPr algn="l">
              <a:defRPr sz="3840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22" name="Picture 7"/>
          <p:cNvPicPr>
            <a:picLocks noChangeAspect="1"/>
          </p:cNvPicPr>
          <p:nvPr/>
        </p:nvPicPr>
        <p:blipFill>
          <a:blip r:embed="rId2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69" name="TextBox 3"/>
          <p:cNvSpPr txBox="1">
            <a:spLocks noChangeArrowheads="1"/>
          </p:cNvSpPr>
          <p:nvPr/>
        </p:nvSpPr>
        <p:spPr bwMode="auto">
          <a:xfrm>
            <a:off x="7315200" y="0"/>
            <a:ext cx="4876800" cy="534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28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23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30225"/>
            <a:ext cx="3149600" cy="70643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0" name="Title 1"/>
          <p:cNvSpPr>
            <a:spLocks noGrp="1"/>
          </p:cNvSpPr>
          <p:nvPr>
            <p:ph type="title"/>
          </p:nvPr>
        </p:nvSpPr>
        <p:spPr>
          <a:xfrm>
            <a:off x="1117600" y="276606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3840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496888"/>
            <a:ext cx="3289300" cy="738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47" name="Picture 8"/>
          <p:cNvPicPr>
            <a:picLocks noChangeAspect="1"/>
          </p:cNvPicPr>
          <p:nvPr/>
        </p:nvPicPr>
        <p:blipFill>
          <a:blip r:embed="rId3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98" name="TextBox 4"/>
          <p:cNvSpPr txBox="1">
            <a:spLocks noChangeArrowheads="1"/>
          </p:cNvSpPr>
          <p:nvPr/>
        </p:nvSpPr>
        <p:spPr bwMode="auto">
          <a:xfrm>
            <a:off x="7213600" y="0"/>
            <a:ext cx="4876800" cy="534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28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8999" name="Title 1"/>
          <p:cNvSpPr>
            <a:spLocks noGrp="1"/>
          </p:cNvSpPr>
          <p:nvPr>
            <p:ph type="title"/>
          </p:nvPr>
        </p:nvSpPr>
        <p:spPr>
          <a:xfrm>
            <a:off x="838200" y="2766060"/>
            <a:ext cx="10515600" cy="1325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thio_Text&amp;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68" name="Picture 2"/>
          <p:cNvPicPr>
            <a:picLocks noChangeAspect="1"/>
          </p:cNvPicPr>
          <p:nvPr/>
        </p:nvPicPr>
        <p:blipFill>
          <a:blip r:embed="rId2"/>
          <a:srcRect b="50000"/>
          <a:stretch>
            <a:fillRect/>
          </a:stretch>
        </p:blipFill>
        <p:spPr bwMode="auto">
          <a:xfrm>
            <a:off x="11093450" y="6550025"/>
            <a:ext cx="728663" cy="273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69" name="Picture 3"/>
          <p:cNvPicPr>
            <a:picLocks noChangeAspect="1"/>
          </p:cNvPicPr>
          <p:nvPr/>
        </p:nvPicPr>
        <p:blipFill>
          <a:blip r:embed="rId3"/>
          <a:srcRect r="60001"/>
          <a:stretch>
            <a:fillRect/>
          </a:stretch>
        </p:blipFill>
        <p:spPr bwMode="auto">
          <a:xfrm>
            <a:off x="11906250" y="5870575"/>
            <a:ext cx="304800" cy="571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70" name="Picture 4"/>
          <p:cNvPicPr>
            <a:picLocks noChangeAspect="1"/>
          </p:cNvPicPr>
          <p:nvPr/>
        </p:nvPicPr>
        <p:blipFill>
          <a:blip r:embed="rId4"/>
          <a:srcRect r="34782" b="28261"/>
          <a:stretch>
            <a:fillRect/>
          </a:stretch>
        </p:blipFill>
        <p:spPr bwMode="auto">
          <a:xfrm>
            <a:off x="11703050" y="6403975"/>
            <a:ext cx="508000" cy="419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71" name="Picture 5" descr="Untitled-1-01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9050" y="6397625"/>
            <a:ext cx="608013" cy="4286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21" name="Espace réservé du contenu 2"/>
          <p:cNvSpPr>
            <a:spLocks noGrp="1"/>
          </p:cNvSpPr>
          <p:nvPr>
            <p:ph idx="1"/>
          </p:nvPr>
        </p:nvSpPr>
        <p:spPr>
          <a:xfrm>
            <a:off x="609600" y="1882589"/>
            <a:ext cx="10972800" cy="3484780"/>
          </a:xfrm>
          <a:prstGeom prst="rect">
            <a:avLst/>
          </a:prstGeom>
        </p:spPr>
        <p:txBody>
          <a:bodyPr/>
          <a:lstStyle>
            <a:lvl1pPr marL="308610" indent="-308610">
              <a:buFont typeface="Wingdings" panose="05000000000000000000" pitchFamily="2" charset="2"/>
              <a:buChar char="§"/>
              <a:defRPr sz="2880" b="0" i="0">
                <a:solidFill>
                  <a:schemeClr val="accent1"/>
                </a:solidFill>
              </a:defRPr>
            </a:lvl1pPr>
            <a:lvl2pPr marL="668655" indent="-257175">
              <a:buFont typeface="Wingdings" panose="05000000000000000000" pitchFamily="2" charset="2"/>
              <a:buChar char="§"/>
              <a:defRPr sz="2340" b="1" i="0"/>
            </a:lvl2pPr>
            <a:lvl3pPr marL="1028700" indent="-205740"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</a:defRPr>
            </a:lvl3pPr>
            <a:lvl4pPr marL="1440180" indent="-20574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>
              <a:defRPr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49022" name="Title 1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4902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503988"/>
            <a:ext cx="2743200" cy="303212"/>
          </a:xfrm>
        </p:spPr>
        <p:txBody>
          <a:bodyPr/>
          <a:lstStyle>
            <a:lvl1pPr defTabSz="548640" eaLnBrk="0" fontAlgn="base" hangingPunct="0">
              <a:spcBef>
                <a:spcPct val="0"/>
              </a:spcBef>
              <a:spcAft>
                <a:spcPct val="0"/>
              </a:spcAft>
              <a:defRPr lang="en-US" sz="1080">
                <a:solidFill>
                  <a:prstClr val="black">
                    <a:tint val="75000"/>
                  </a:prstClr>
                </a:solidFill>
                <a:ea typeface="MS PGothic" panose="020B0600070205080204" charset="-128"/>
              </a:defRPr>
            </a:lvl1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03-10-2025</a:t>
            </a:r>
            <a:endParaRPr kumimoji="0" lang="en-US" sz="10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MS PGothic" panose="020B0600070205080204" charset="-128"/>
              <a:cs typeface="+mn-cs"/>
            </a:endParaRPr>
          </a:p>
        </p:txBody>
      </p:sp>
      <p:sp>
        <p:nvSpPr>
          <p:cNvPr id="104902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610600" y="6503988"/>
            <a:ext cx="2743200" cy="303212"/>
          </a:xfrm>
        </p:spPr>
        <p:txBody>
          <a:bodyPr/>
          <a:lstStyle>
            <a:lvl1pPr defTabSz="548640" eaLnBrk="0" fontAlgn="base" hangingPunct="0">
              <a:spcBef>
                <a:spcPct val="0"/>
              </a:spcBef>
              <a:spcAft>
                <a:spcPct val="0"/>
              </a:spcAft>
              <a:defRPr sz="1080">
                <a:ea typeface="MS PGothic" panose="020B0600070205080204" charset="-128"/>
              </a:defRPr>
            </a:lvl1pPr>
          </a:lstStyle>
          <a:p>
            <a:pPr marL="0" marR="0" lvl="0" indent="0" algn="r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DB3D5178-A394-4216-B88F-1EEF1E05C5D2}" type="slidenum">
              <a:rPr kumimoji="0" lang="en-US" altLang="en-US" sz="10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‹#›</a:t>
            </a:fld>
            <a:endParaRPr kumimoji="0" lang="en-US" altLang="en-US" sz="108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MS PGothic" panose="020B0600070205080204" charset="-128"/>
              <a:cs typeface="+mn-cs"/>
            </a:endParaRPr>
          </a:p>
        </p:txBody>
      </p:sp>
      <p:sp>
        <p:nvSpPr>
          <p:cNvPr id="1049025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3581400" y="6503988"/>
            <a:ext cx="4851400" cy="303212"/>
          </a:xfrm>
        </p:spPr>
        <p:txBody>
          <a:bodyPr/>
          <a:lstStyle>
            <a:lvl1pPr defTabSz="548640" eaLnBrk="0" fontAlgn="base" hangingPunct="0">
              <a:spcBef>
                <a:spcPct val="0"/>
              </a:spcBef>
              <a:spcAft>
                <a:spcPct val="0"/>
              </a:spcAft>
              <a:defRPr lang="en-US" sz="1080">
                <a:solidFill>
                  <a:prstClr val="black">
                    <a:tint val="75000"/>
                  </a:prstClr>
                </a:solidFill>
                <a:ea typeface="MS PGothic" panose="020B0600070205080204" charset="-128"/>
              </a:defRPr>
            </a:lvl1pPr>
          </a:lstStyle>
          <a:p>
            <a:pPr marL="0" marR="0" lvl="0" indent="0" algn="ctr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Q-1 performance Report | FSAS&amp;S Section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9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496888"/>
            <a:ext cx="3289300" cy="738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0" name="Picture 8"/>
          <p:cNvPicPr>
            <a:picLocks noChangeAspect="1"/>
          </p:cNvPicPr>
          <p:nvPr/>
        </p:nvPicPr>
        <p:blipFill>
          <a:blip r:embed="rId3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48" name="TextBox 4"/>
          <p:cNvSpPr txBox="1">
            <a:spLocks noChangeArrowheads="1"/>
          </p:cNvSpPr>
          <p:nvPr/>
        </p:nvSpPr>
        <p:spPr bwMode="auto">
          <a:xfrm>
            <a:off x="7213600" y="0"/>
            <a:ext cx="4876800" cy="534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28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8949" name="Title 1"/>
          <p:cNvSpPr>
            <a:spLocks noGrp="1"/>
          </p:cNvSpPr>
          <p:nvPr>
            <p:ph type="title"/>
          </p:nvPr>
        </p:nvSpPr>
        <p:spPr>
          <a:xfrm>
            <a:off x="838200" y="2766060"/>
            <a:ext cx="10515600" cy="1325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01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2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30225"/>
            <a:ext cx="3149600" cy="70643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0" name="Title 1"/>
          <p:cNvSpPr>
            <a:spLocks noGrp="1"/>
          </p:cNvSpPr>
          <p:nvPr>
            <p:ph type="title"/>
          </p:nvPr>
        </p:nvSpPr>
        <p:spPr>
          <a:xfrm>
            <a:off x="609600" y="2766060"/>
            <a:ext cx="9601200" cy="1325880"/>
          </a:xfrm>
          <a:prstGeom prst="rect">
            <a:avLst/>
          </a:prstGeom>
        </p:spPr>
        <p:txBody>
          <a:bodyPr/>
          <a:lstStyle>
            <a:lvl1pPr algn="l">
              <a:defRPr sz="426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26" name="Picture 7"/>
          <p:cNvPicPr>
            <a:picLocks noChangeAspect="1"/>
          </p:cNvPicPr>
          <p:nvPr/>
        </p:nvPicPr>
        <p:blipFill>
          <a:blip r:embed="rId2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2" name="TextBox 3"/>
          <p:cNvSpPr txBox="1">
            <a:spLocks noChangeArrowheads="1"/>
          </p:cNvSpPr>
          <p:nvPr/>
        </p:nvSpPr>
        <p:spPr bwMode="auto">
          <a:xfrm>
            <a:off x="7315200" y="0"/>
            <a:ext cx="48768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27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30225"/>
            <a:ext cx="3149600" cy="70643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3" name="Title 1"/>
          <p:cNvSpPr>
            <a:spLocks noGrp="1"/>
          </p:cNvSpPr>
          <p:nvPr>
            <p:ph type="title"/>
          </p:nvPr>
        </p:nvSpPr>
        <p:spPr>
          <a:xfrm>
            <a:off x="1117600" y="276606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426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3424859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4204820"/>
            <a:ext cx="10353761" cy="159218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5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496888"/>
            <a:ext cx="3289300" cy="738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53" name="Picture 8"/>
          <p:cNvPicPr>
            <a:picLocks noChangeAspect="1"/>
          </p:cNvPicPr>
          <p:nvPr/>
        </p:nvPicPr>
        <p:blipFill>
          <a:blip r:embed="rId3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01" name="TextBox 4"/>
          <p:cNvSpPr txBox="1">
            <a:spLocks noChangeArrowheads="1"/>
          </p:cNvSpPr>
          <p:nvPr/>
        </p:nvSpPr>
        <p:spPr bwMode="auto">
          <a:xfrm>
            <a:off x="7213600" y="0"/>
            <a:ext cx="48768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9002" name="Title 1"/>
          <p:cNvSpPr>
            <a:spLocks noGrp="1"/>
          </p:cNvSpPr>
          <p:nvPr>
            <p:ph type="title"/>
          </p:nvPr>
        </p:nvSpPr>
        <p:spPr>
          <a:xfrm>
            <a:off x="838200" y="2766060"/>
            <a:ext cx="10515600" cy="1325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426812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04821"/>
            <a:ext cx="10353762" cy="15863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836612" y="73524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57956" y="297209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3165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40">
                <a:solidFill>
                  <a:schemeClr val="tx1">
                    <a:tint val="75000"/>
                  </a:schemeClr>
                </a:solidFill>
              </a:defRPr>
            </a:lvl1pPr>
            <a:lvl2pPr marL="44577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891540" indent="0">
              <a:buNone/>
              <a:defRPr sz="1755">
                <a:solidFill>
                  <a:schemeClr val="tx1">
                    <a:tint val="75000"/>
                  </a:schemeClr>
                </a:solidFill>
              </a:defRPr>
            </a:lvl3pPr>
            <a:lvl4pPr marL="133731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4pPr>
            <a:lvl5pPr marL="178308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5pPr>
            <a:lvl6pPr marL="222885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6pPr>
            <a:lvl7pPr marL="267462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7pPr>
            <a:lvl8pPr marL="312039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8pPr>
            <a:lvl9pPr marL="356616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20"/>
            </a:lvl1pPr>
            <a:lvl2pPr>
              <a:defRPr sz="2730"/>
            </a:lvl2pPr>
            <a:lvl3pPr>
              <a:defRPr sz="2340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2126942"/>
            <a:ext cx="10355327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650556"/>
            <a:ext cx="10353763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20"/>
            </a:lvl1pPr>
            <a:lvl2pPr marL="445770" indent="0">
              <a:buNone/>
              <a:defRPr sz="2730"/>
            </a:lvl2pPr>
            <a:lvl3pPr marL="891540" indent="0">
              <a:buNone/>
              <a:defRPr sz="2340"/>
            </a:lvl3pPr>
            <a:lvl4pPr marL="1337310" indent="0">
              <a:buNone/>
              <a:defRPr sz="1950"/>
            </a:lvl4pPr>
            <a:lvl5pPr marL="1783080" indent="0">
              <a:buNone/>
              <a:defRPr sz="1950"/>
            </a:lvl5pPr>
            <a:lvl6pPr marL="2228850" indent="0">
              <a:buNone/>
              <a:defRPr sz="1950"/>
            </a:lvl6pPr>
            <a:lvl7pPr marL="2674620" indent="0">
              <a:buNone/>
              <a:defRPr sz="1950"/>
            </a:lvl7pPr>
            <a:lvl8pPr marL="3120390" indent="0">
              <a:buNone/>
              <a:defRPr sz="1950"/>
            </a:lvl8pPr>
            <a:lvl9pPr marL="3566160" indent="0">
              <a:buNone/>
              <a:defRPr sz="19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1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  <p:pic>
        <p:nvPicPr>
          <p:cNvPr id="8" name="A67737C9-E46B-4C42-B3C9-A93B4B751276" descr="A67737C9-E46B-4C42-B3C9-A93B4B75127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3487"/>
            <a:ext cx="12192000" cy="616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/>
          <p:nvPr userDrawn="1"/>
        </p:nvSpPr>
        <p:spPr bwMode="auto">
          <a:xfrm>
            <a:off x="625231" y="41726"/>
            <a:ext cx="10949713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6" rIns="91434" bIns="45716" anchor="ctr">
            <a:normAutofit/>
          </a:bodyPr>
          <a:lstStyle>
            <a:lvl1pPr algn="l" defTabSz="472440" rtl="0" eaLnBrk="0" fontAlgn="base" hangingPunct="0">
              <a:spcBef>
                <a:spcPct val="0"/>
              </a:spcBef>
              <a:spcAft>
                <a:spcPct val="0"/>
              </a:spcAft>
              <a:defRPr sz="2070" b="1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MS PGothic" panose="020B0600070205080204" charset="-128"/>
              </a:defRPr>
            </a:lvl1pPr>
            <a:lvl2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47244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94551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41795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189103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defTabSz="472440">
              <a:defRPr/>
            </a:pPr>
            <a:r>
              <a:rPr lang="en-US" sz="2070" dirty="0">
                <a:solidFill>
                  <a:srgbClr val="0070C0"/>
                </a:solidFill>
                <a:latin typeface="Arial Black" panose="020B0A04020102020204" pitchFamily="34" charset="0"/>
              </a:rPr>
              <a:t>STRATEGIC THEMES</a:t>
            </a:r>
          </a:p>
        </p:txBody>
      </p:sp>
      <p:sp>
        <p:nvSpPr>
          <p:cNvPr id="10" name="TextBox 1"/>
          <p:cNvSpPr txBox="1">
            <a:spLocks noChangeArrowheads="1"/>
          </p:cNvSpPr>
          <p:nvPr userDrawn="1"/>
        </p:nvSpPr>
        <p:spPr bwMode="auto">
          <a:xfrm>
            <a:off x="625231" y="616513"/>
            <a:ext cx="10394624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54102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830" b="1" dirty="0">
                <a:solidFill>
                  <a:srgbClr val="00AB4E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BRIDGE (</a:t>
            </a:r>
            <a:r>
              <a:rPr lang="en-US" altLang="en-US" sz="1830" b="1" dirty="0">
                <a:solidFill>
                  <a:srgbClr val="00AB4E"/>
                </a:solidFill>
                <a:latin typeface="Nyala" panose="02000504070300020003" pitchFamily="2" charset="0"/>
                <a:ea typeface="MS PGothic" panose="020B0600070205080204" charset="-128"/>
                <a:cs typeface="Arial" panose="020B0604020202020204" pitchFamily="34" charset="0"/>
              </a:rPr>
              <a:t>ድልድይ</a:t>
            </a:r>
            <a:endParaRPr lang="en-US" altLang="en-US" sz="183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9A8CC8-AEC4-0E42-895C-C8261E3EED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4" y="2088319"/>
            <a:ext cx="3298956" cy="823305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4" y="2911624"/>
            <a:ext cx="3298956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4878" y="2088320"/>
            <a:ext cx="3298558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4878" y="2911624"/>
            <a:ext cx="329982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088320"/>
            <a:ext cx="3291211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6346" y="2911624"/>
            <a:ext cx="329121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4195899"/>
            <a:ext cx="3298955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92020" y="2298987"/>
            <a:ext cx="2940050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772161"/>
            <a:ext cx="3298955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01" y="4195899"/>
            <a:ext cx="3298983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98987"/>
            <a:ext cx="2930525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72160"/>
            <a:ext cx="3300336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423" y="4195899"/>
            <a:ext cx="3289900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52803" y="2298987"/>
            <a:ext cx="2932113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298" y="4772161"/>
            <a:ext cx="3294258" cy="1019037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3165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40">
                <a:solidFill>
                  <a:schemeClr val="tx1">
                    <a:tint val="75000"/>
                  </a:schemeClr>
                </a:solidFill>
              </a:defRPr>
            </a:lvl1pPr>
            <a:lvl2pPr marL="44577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891540" indent="0">
              <a:buNone/>
              <a:defRPr sz="1755">
                <a:solidFill>
                  <a:schemeClr val="tx1">
                    <a:tint val="75000"/>
                  </a:schemeClr>
                </a:solidFill>
              </a:defRPr>
            </a:lvl3pPr>
            <a:lvl4pPr marL="133731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4pPr>
            <a:lvl5pPr marL="178308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5pPr>
            <a:lvl6pPr marL="222885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6pPr>
            <a:lvl7pPr marL="267462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7pPr>
            <a:lvl8pPr marL="312039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8pPr>
            <a:lvl9pPr marL="356616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20"/>
            </a:lvl1pPr>
            <a:lvl2pPr>
              <a:defRPr sz="2730"/>
            </a:lvl2pPr>
            <a:lvl3pPr>
              <a:defRPr sz="2340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20"/>
            </a:lvl1pPr>
            <a:lvl2pPr marL="445770" indent="0">
              <a:buNone/>
              <a:defRPr sz="2730"/>
            </a:lvl2pPr>
            <a:lvl3pPr marL="891540" indent="0">
              <a:buNone/>
              <a:defRPr sz="2340"/>
            </a:lvl3pPr>
            <a:lvl4pPr marL="1337310" indent="0">
              <a:buNone/>
              <a:defRPr sz="1950"/>
            </a:lvl4pPr>
            <a:lvl5pPr marL="1783080" indent="0">
              <a:buNone/>
              <a:defRPr sz="1950"/>
            </a:lvl5pPr>
            <a:lvl6pPr marL="2228850" indent="0">
              <a:buNone/>
              <a:defRPr sz="1950"/>
            </a:lvl6pPr>
            <a:lvl7pPr marL="2674620" indent="0">
              <a:buNone/>
              <a:defRPr sz="1950"/>
            </a:lvl7pPr>
            <a:lvl8pPr marL="3120390" indent="0">
              <a:buNone/>
              <a:defRPr sz="1950"/>
            </a:lvl8pPr>
            <a:lvl9pPr marL="3566160" indent="0">
              <a:buNone/>
              <a:defRPr sz="19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1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  <p:pic>
        <p:nvPicPr>
          <p:cNvPr id="8" name="A67737C9-E46B-4C42-B3C9-A93B4B751276" descr="A67737C9-E46B-4C42-B3C9-A93B4B75127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3487"/>
            <a:ext cx="12192000" cy="616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/>
          <p:nvPr userDrawn="1"/>
        </p:nvSpPr>
        <p:spPr bwMode="auto">
          <a:xfrm>
            <a:off x="625231" y="41726"/>
            <a:ext cx="10949713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6" rIns="91434" bIns="45716" anchor="ctr">
            <a:normAutofit/>
          </a:bodyPr>
          <a:lstStyle>
            <a:lvl1pPr algn="l" defTabSz="472440" rtl="0" eaLnBrk="0" fontAlgn="base" hangingPunct="0">
              <a:spcBef>
                <a:spcPct val="0"/>
              </a:spcBef>
              <a:spcAft>
                <a:spcPct val="0"/>
              </a:spcAft>
              <a:defRPr sz="2070" b="1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MS PGothic" panose="020B0600070205080204" charset="-128"/>
              </a:defRPr>
            </a:lvl1pPr>
            <a:lvl2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47244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94551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41795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189103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defTabSz="472440">
              <a:defRPr/>
            </a:pPr>
            <a:r>
              <a:rPr lang="en-US" sz="2070" dirty="0">
                <a:solidFill>
                  <a:srgbClr val="0070C0"/>
                </a:solidFill>
                <a:latin typeface="Arial Black" panose="020B0A04020102020204" pitchFamily="34" charset="0"/>
              </a:rPr>
              <a:t>STRATEGIC THEMES</a:t>
            </a:r>
          </a:p>
        </p:txBody>
      </p:sp>
      <p:sp>
        <p:nvSpPr>
          <p:cNvPr id="10" name="TextBox 1"/>
          <p:cNvSpPr txBox="1">
            <a:spLocks noChangeArrowheads="1"/>
          </p:cNvSpPr>
          <p:nvPr userDrawn="1"/>
        </p:nvSpPr>
        <p:spPr bwMode="auto">
          <a:xfrm>
            <a:off x="625231" y="616513"/>
            <a:ext cx="10394624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54102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830" b="1" dirty="0">
                <a:solidFill>
                  <a:srgbClr val="00AB4E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BRIDGE (</a:t>
            </a:r>
            <a:r>
              <a:rPr lang="en-US" altLang="en-US" sz="1830" b="1" dirty="0">
                <a:solidFill>
                  <a:srgbClr val="00AB4E"/>
                </a:solidFill>
                <a:latin typeface="Nyala" panose="02000504070300020003" pitchFamily="2" charset="0"/>
                <a:ea typeface="MS PGothic" panose="020B0600070205080204" charset="-128"/>
                <a:cs typeface="Arial" panose="020B0604020202020204" pitchFamily="34" charset="0"/>
              </a:rPr>
              <a:t>ድልድይ</a:t>
            </a:r>
            <a:endParaRPr lang="en-US" altLang="en-US" sz="183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3165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 shot of a screen&#10;&#10;AI-generated content may be incorrect.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40">
                <a:solidFill>
                  <a:schemeClr val="tx1">
                    <a:tint val="75000"/>
                  </a:schemeClr>
                </a:solidFill>
              </a:defRPr>
            </a:lvl1pPr>
            <a:lvl2pPr marL="44577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891540" indent="0">
              <a:buNone/>
              <a:defRPr sz="1755">
                <a:solidFill>
                  <a:schemeClr val="tx1">
                    <a:tint val="75000"/>
                  </a:schemeClr>
                </a:solidFill>
              </a:defRPr>
            </a:lvl3pPr>
            <a:lvl4pPr marL="133731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4pPr>
            <a:lvl5pPr marL="178308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5pPr>
            <a:lvl6pPr marL="222885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6pPr>
            <a:lvl7pPr marL="267462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7pPr>
            <a:lvl8pPr marL="312039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8pPr>
            <a:lvl9pPr marL="356616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599"/>
            <a:ext cx="254265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4" y="609599"/>
            <a:ext cx="7658705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40" b="1"/>
            </a:lvl1pPr>
            <a:lvl2pPr marL="445770" indent="0">
              <a:buNone/>
              <a:defRPr sz="1950" b="1"/>
            </a:lvl2pPr>
            <a:lvl3pPr marL="891540" indent="0">
              <a:buNone/>
              <a:defRPr sz="1755" b="1"/>
            </a:lvl3pPr>
            <a:lvl4pPr marL="1337310" indent="0">
              <a:buNone/>
              <a:defRPr sz="1560" b="1"/>
            </a:lvl4pPr>
            <a:lvl5pPr marL="1783080" indent="0">
              <a:buNone/>
              <a:defRPr sz="1560" b="1"/>
            </a:lvl5pPr>
            <a:lvl6pPr marL="2228850" indent="0">
              <a:buNone/>
              <a:defRPr sz="1560" b="1"/>
            </a:lvl6pPr>
            <a:lvl7pPr marL="2674620" indent="0">
              <a:buNone/>
              <a:defRPr sz="1560" b="1"/>
            </a:lvl7pPr>
            <a:lvl8pPr marL="3120390" indent="0">
              <a:buNone/>
              <a:defRPr sz="1560" b="1"/>
            </a:lvl8pPr>
            <a:lvl9pPr marL="3566160" indent="0">
              <a:buNone/>
              <a:defRPr sz="156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20"/>
            </a:lvl1pPr>
            <a:lvl2pPr>
              <a:defRPr sz="2730"/>
            </a:lvl2pPr>
            <a:lvl3pPr>
              <a:defRPr sz="2340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20"/>
            </a:lvl1pPr>
            <a:lvl2pPr marL="445770" indent="0">
              <a:buNone/>
              <a:defRPr sz="2730"/>
            </a:lvl2pPr>
            <a:lvl3pPr marL="891540" indent="0">
              <a:buNone/>
              <a:defRPr sz="2340"/>
            </a:lvl3pPr>
            <a:lvl4pPr marL="1337310" indent="0">
              <a:buNone/>
              <a:defRPr sz="1950"/>
            </a:lvl4pPr>
            <a:lvl5pPr marL="1783080" indent="0">
              <a:buNone/>
              <a:defRPr sz="1950"/>
            </a:lvl5pPr>
            <a:lvl6pPr marL="2228850" indent="0">
              <a:buNone/>
              <a:defRPr sz="1950"/>
            </a:lvl6pPr>
            <a:lvl7pPr marL="2674620" indent="0">
              <a:buNone/>
              <a:defRPr sz="1950"/>
            </a:lvl7pPr>
            <a:lvl8pPr marL="3120390" indent="0">
              <a:buNone/>
              <a:defRPr sz="1950"/>
            </a:lvl8pPr>
            <a:lvl9pPr marL="3566160" indent="0">
              <a:buNone/>
              <a:defRPr sz="19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60"/>
            </a:lvl1pPr>
            <a:lvl2pPr marL="445770" indent="0">
              <a:buNone/>
              <a:defRPr sz="1365"/>
            </a:lvl2pPr>
            <a:lvl3pPr marL="891540" indent="0">
              <a:buNone/>
              <a:defRPr sz="1170"/>
            </a:lvl3pPr>
            <a:lvl4pPr marL="1337310" indent="0">
              <a:buNone/>
              <a:defRPr sz="975"/>
            </a:lvl4pPr>
            <a:lvl5pPr marL="1783080" indent="0">
              <a:buNone/>
              <a:defRPr sz="975"/>
            </a:lvl5pPr>
            <a:lvl6pPr marL="2228850" indent="0">
              <a:buNone/>
              <a:defRPr sz="975"/>
            </a:lvl6pPr>
            <a:lvl7pPr marL="2674620" indent="0">
              <a:buNone/>
              <a:defRPr sz="975"/>
            </a:lvl7pPr>
            <a:lvl8pPr marL="3120390" indent="0">
              <a:buNone/>
              <a:defRPr sz="975"/>
            </a:lvl8pPr>
            <a:lvl9pPr marL="3566160" indent="0">
              <a:buNone/>
              <a:defRPr sz="9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1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  <p:pic>
        <p:nvPicPr>
          <p:cNvPr id="8" name="A67737C9-E46B-4C42-B3C9-A93B4B751276" descr="A67737C9-E46B-4C42-B3C9-A93B4B75127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3487"/>
            <a:ext cx="12192000" cy="616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/>
          <p:nvPr userDrawn="1"/>
        </p:nvSpPr>
        <p:spPr bwMode="auto">
          <a:xfrm>
            <a:off x="625231" y="41726"/>
            <a:ext cx="10949713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6" rIns="91434" bIns="45716" anchor="ctr">
            <a:normAutofit/>
          </a:bodyPr>
          <a:lstStyle>
            <a:lvl1pPr algn="l" defTabSz="472440" rtl="0" eaLnBrk="0" fontAlgn="base" hangingPunct="0">
              <a:spcBef>
                <a:spcPct val="0"/>
              </a:spcBef>
              <a:spcAft>
                <a:spcPct val="0"/>
              </a:spcAft>
              <a:defRPr sz="2070" b="1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MS PGothic" panose="020B0600070205080204" charset="-128"/>
              </a:defRPr>
            </a:lvl1pPr>
            <a:lvl2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47244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94551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41795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189103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defTabSz="472440">
              <a:defRPr/>
            </a:pPr>
            <a:r>
              <a:rPr lang="en-US" sz="2070" dirty="0">
                <a:solidFill>
                  <a:srgbClr val="0070C0"/>
                </a:solidFill>
                <a:latin typeface="Arial Black" panose="020B0A04020102020204" pitchFamily="34" charset="0"/>
              </a:rPr>
              <a:t>STRATEGIC THEMES</a:t>
            </a:r>
          </a:p>
        </p:txBody>
      </p:sp>
      <p:sp>
        <p:nvSpPr>
          <p:cNvPr id="10" name="TextBox 1"/>
          <p:cNvSpPr txBox="1">
            <a:spLocks noChangeArrowheads="1"/>
          </p:cNvSpPr>
          <p:nvPr userDrawn="1"/>
        </p:nvSpPr>
        <p:spPr bwMode="auto">
          <a:xfrm>
            <a:off x="625231" y="616513"/>
            <a:ext cx="10394624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54102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830" b="1" dirty="0">
                <a:solidFill>
                  <a:srgbClr val="00AB4E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BRIDGE (</a:t>
            </a:r>
            <a:r>
              <a:rPr lang="en-US" altLang="en-US" sz="1830" b="1" dirty="0">
                <a:solidFill>
                  <a:srgbClr val="00AB4E"/>
                </a:solidFill>
                <a:latin typeface="Nyala" panose="02000504070300020003" pitchFamily="2" charset="0"/>
                <a:ea typeface="MS PGothic" panose="020B0600070205080204" charset="-128"/>
                <a:cs typeface="Arial" panose="020B0604020202020204" pitchFamily="34" charset="0"/>
              </a:rPr>
              <a:t>ድልድይ</a:t>
            </a:r>
            <a:endParaRPr lang="en-US" altLang="en-US" sz="183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1" y="2514600"/>
            <a:ext cx="5486400" cy="1325880"/>
          </a:xfrm>
          <a:prstGeom prst="rect">
            <a:avLst/>
          </a:prstGeom>
        </p:spPr>
        <p:txBody>
          <a:bodyPr/>
          <a:lstStyle>
            <a:lvl1pPr algn="l">
              <a:defRPr sz="3910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/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" y="659133"/>
            <a:ext cx="12183533" cy="6193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7315201" y="3"/>
            <a:ext cx="4876800" cy="543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9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7601" y="2514600"/>
            <a:ext cx="9601199" cy="1325880"/>
          </a:xfrm>
          <a:prstGeom prst="rect">
            <a:avLst/>
          </a:prstGeom>
        </p:spPr>
        <p:txBody>
          <a:bodyPr/>
          <a:lstStyle>
            <a:lvl1pPr algn="ctr">
              <a:defRPr sz="3910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1" y="550096"/>
            <a:ext cx="3145535" cy="7132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627803"/>
            <a:ext cx="5384800" cy="56358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627803"/>
            <a:ext cx="5384800" cy="56358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340" y="137160"/>
            <a:ext cx="10684263" cy="31728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30" b="1" i="0" cap="all">
                <a:latin typeface="Arial heading"/>
                <a:cs typeface="Arial" panose="020B06040202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1115" y="-28752"/>
            <a:ext cx="12294231" cy="69155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12310"/>
            <a:ext cx="12192000" cy="2545690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55034" y="45721"/>
            <a:ext cx="12136967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868680"/>
            <a:ext cx="10769600" cy="14630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cap="all">
                <a:solidFill>
                  <a:srgbClr val="15A245"/>
                </a:solidFill>
                <a:latin typeface="Arial Black" panose="020B0A04020102020204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697480"/>
            <a:ext cx="8534400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80C41C"/>
                </a:solidFill>
                <a:latin typeface="Arial" panose="020B0604020202020204"/>
                <a:cs typeface="Arial" panose="020B0604020202020204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5236308" y="4937977"/>
            <a:ext cx="4845539" cy="12943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52013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PAG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 baseline="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8" name="A67737C9-E46B-4C42-B3C9-A93B4B751276" descr="A67737C9-E46B-4C42-B3C9-A93B4B75127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3487"/>
            <a:ext cx="12192000" cy="616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/>
          <p:nvPr/>
        </p:nvSpPr>
        <p:spPr bwMode="auto">
          <a:xfrm>
            <a:off x="625231" y="41726"/>
            <a:ext cx="10949713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6" rIns="91434" bIns="45716" anchor="ctr">
            <a:normAutofit/>
          </a:bodyPr>
          <a:lstStyle>
            <a:lvl1pPr algn="l" defTabSz="472440" rtl="0" eaLnBrk="0" fontAlgn="base" hangingPunct="0">
              <a:spcBef>
                <a:spcPct val="0"/>
              </a:spcBef>
              <a:spcAft>
                <a:spcPct val="0"/>
              </a:spcAft>
              <a:defRPr sz="2070" b="1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MS PGothic" panose="020B0600070205080204" charset="-128"/>
              </a:defRPr>
            </a:lvl1pPr>
            <a:lvl2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47244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94551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41795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189103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0" marR="0" lvl="0" indent="0" algn="l" defTabSz="4724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070" b="1" i="0" u="none" strike="noStrike" kern="1200" cap="all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Black" panose="020B0A04020102020204" pitchFamily="34" charset="0"/>
                <a:ea typeface="MS PGothic" panose="020B0600070205080204" charset="-128"/>
              </a:rPr>
              <a:t>STRATEGIC THEMES</a:t>
            </a:r>
          </a:p>
        </p:txBody>
      </p:sp>
      <p:sp>
        <p:nvSpPr>
          <p:cNvPr id="10" name="TextBox 1"/>
          <p:cNvSpPr txBox="1">
            <a:spLocks noChangeArrowheads="1"/>
          </p:cNvSpPr>
          <p:nvPr/>
        </p:nvSpPr>
        <p:spPr bwMode="auto">
          <a:xfrm>
            <a:off x="625231" y="616513"/>
            <a:ext cx="10394624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5410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830" b="1" i="0" u="none" strike="noStrike" kern="1200" cap="none" spc="0" normalizeH="0" baseline="0" noProof="0" dirty="0">
                <a:ln>
                  <a:noFill/>
                </a:ln>
                <a:solidFill>
                  <a:srgbClr val="00AB4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BRIDGE (</a:t>
            </a:r>
            <a:r>
              <a:rPr kumimoji="0" lang="en-US" altLang="en-US" sz="1830" b="1" i="0" u="none" strike="noStrike" kern="1200" cap="none" spc="0" normalizeH="0" baseline="0" noProof="0" dirty="0">
                <a:ln>
                  <a:noFill/>
                </a:ln>
                <a:solidFill>
                  <a:srgbClr val="00AB4E"/>
                </a:solidFill>
                <a:effectLst/>
                <a:uLnTx/>
                <a:uFillTx/>
                <a:latin typeface="Nyala" panose="02000504070300020003" pitchFamily="2" charset="0"/>
                <a:ea typeface="MS PGothic" panose="020B0600070205080204" charset="-128"/>
                <a:cs typeface="Arial" panose="020B0604020202020204" pitchFamily="34" charset="0"/>
              </a:rPr>
              <a:t>ድልድይ</a:t>
            </a:r>
            <a:endParaRPr kumimoji="0" lang="en-US" altLang="en-US" sz="18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52013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solidFill>
          <a:srgbClr val="97C3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-15309"/>
            <a:ext cx="12198413" cy="6249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03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solidFill>
          <a:srgbClr val="09B0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-15309"/>
            <a:ext cx="12198413" cy="6249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03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9244" y="657226"/>
            <a:ext cx="9733512" cy="2852737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9244" y="3602038"/>
            <a:ext cx="9733512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solidFill>
          <a:srgbClr val="29B9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5309"/>
            <a:ext cx="12192000" cy="6249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03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5309"/>
            <a:ext cx="12192000" cy="6249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03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solidFill>
          <a:srgbClr val="FEC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5309"/>
            <a:ext cx="12192000" cy="6249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303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137161"/>
            <a:ext cx="1524000" cy="3401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685800"/>
            <a:ext cx="10972800" cy="5943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PAG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 baseline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5" name="Slide Number Placeholder 4"/>
          <p:cNvSpPr txBox="1"/>
          <p:nvPr/>
        </p:nvSpPr>
        <p:spPr>
          <a:xfrm>
            <a:off x="8610601" y="6374199"/>
            <a:ext cx="2362200" cy="34664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defPPr>
              <a:defRPr lang="en-US"/>
            </a:defPPr>
            <a:lvl1pPr algn="r" defTabSz="57658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898989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defRPr>
            </a:lvl1pPr>
            <a:lvl2pPr marL="576580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2pPr>
            <a:lvl3pPr marL="115379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3pPr>
            <a:lvl4pPr marL="173037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4pPr>
            <a:lvl5pPr marL="230695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5pPr>
            <a:lvl6pPr marL="2883535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6pPr>
            <a:lvl7pPr marL="346075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7pPr>
            <a:lvl8pPr marL="403733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8pPr>
            <a:lvl9pPr marL="461391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9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723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031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88319"/>
            <a:ext cx="510600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403" y="2088319"/>
            <a:ext cx="509415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 dirty="0"/>
              <a:t>TRANSITION PAG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30670" r="12290" b="31364"/>
          <a:stretch>
            <a:fillRect/>
          </a:stretch>
        </p:blipFill>
        <p:spPr>
          <a:xfrm>
            <a:off x="468923" y="457201"/>
            <a:ext cx="2636511" cy="7042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7315200" y="1"/>
            <a:ext cx="487680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17600" y="251460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latin typeface="Arial heading"/>
              </a:defRPr>
            </a:lvl1pPr>
          </a:lstStyle>
          <a:p>
            <a:r>
              <a:rPr lang="en-US" altLang="en-US" dirty="0"/>
              <a:t>THANK YOU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" y="550096"/>
            <a:ext cx="3145536" cy="7132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>
            <a:fillRect/>
          </a:stretch>
        </p:blipFill>
        <p:spPr bwMode="auto">
          <a:xfrm>
            <a:off x="11075052" y="6529552"/>
            <a:ext cx="727808" cy="32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01"/>
          <a:stretch>
            <a:fillRect/>
          </a:stretch>
        </p:blipFill>
        <p:spPr bwMode="auto">
          <a:xfrm>
            <a:off x="11887526" y="5715000"/>
            <a:ext cx="304474" cy="686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82" b="28261"/>
          <a:stretch>
            <a:fillRect/>
          </a:stretch>
        </p:blipFill>
        <p:spPr bwMode="auto">
          <a:xfrm>
            <a:off x="11684000" y="6355475"/>
            <a:ext cx="508000" cy="502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15" t="23978" r="13377" b="41695"/>
          <a:stretch>
            <a:fillRect/>
          </a:stretch>
        </p:blipFill>
        <p:spPr bwMode="auto">
          <a:xfrm>
            <a:off x="0" y="6347264"/>
            <a:ext cx="607321" cy="51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60120"/>
            <a:ext cx="10972800" cy="5486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35" b="1" cap="all">
                <a:latin typeface="Arial heading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54480"/>
            <a:ext cx="5384800" cy="4709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/>
                <a:cs typeface="Arial" panose="020B0604020202020204"/>
              </a:defRPr>
            </a:lvl1pPr>
            <a:lvl2pPr>
              <a:defRPr sz="1625">
                <a:latin typeface="Arial" panose="020B0604020202020204"/>
                <a:cs typeface="Arial" panose="020B0604020202020204"/>
              </a:defRPr>
            </a:lvl2pPr>
            <a:lvl3pPr>
              <a:defRPr sz="1625">
                <a:latin typeface="Arial" panose="020B0604020202020204"/>
                <a:cs typeface="Arial" panose="020B0604020202020204"/>
              </a:defRPr>
            </a:lvl3pPr>
            <a:lvl4pPr>
              <a:defRPr sz="1625">
                <a:latin typeface="Arial" panose="020B0604020202020204"/>
                <a:cs typeface="Arial" panose="020B0604020202020204"/>
              </a:defRPr>
            </a:lvl4pPr>
            <a:lvl5pPr>
              <a:defRPr sz="1625">
                <a:latin typeface="Arial" panose="020B0604020202020204"/>
                <a:cs typeface="Arial" panose="020B0604020202020204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2" y="1554480"/>
            <a:ext cx="5384800" cy="4709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/>
                <a:cs typeface="Arial" panose="020B0604020202020204"/>
              </a:defRPr>
            </a:lvl1pPr>
            <a:lvl2pPr>
              <a:defRPr sz="1625">
                <a:latin typeface="Arial" panose="020B0604020202020204"/>
                <a:cs typeface="Arial" panose="020B0604020202020204"/>
              </a:defRPr>
            </a:lvl2pPr>
            <a:lvl3pPr>
              <a:defRPr sz="1625">
                <a:latin typeface="Arial" panose="020B0604020202020204"/>
                <a:cs typeface="Arial" panose="020B0604020202020204"/>
              </a:defRPr>
            </a:lvl3pPr>
            <a:lvl4pPr>
              <a:defRPr sz="1625">
                <a:latin typeface="Arial" panose="020B0604020202020204"/>
                <a:cs typeface="Arial" panose="020B0604020202020204"/>
              </a:defRPr>
            </a:lvl4pPr>
            <a:lvl5pPr>
              <a:defRPr sz="1625">
                <a:latin typeface="Arial" panose="020B0604020202020204"/>
                <a:cs typeface="Arial" panose="020B0604020202020204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-10-2025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-1 performance Report | FSAS&amp;S Sectio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713C6B3-8FA7-4499-A12A-35D65D2D35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854890"/>
            <a:ext cx="12198413" cy="100311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74199"/>
            <a:ext cx="2362200" cy="346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005506-5BB5-46C6-BB45-1970CA562748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03-10-2025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pPr marL="44450">
              <a:lnSpc>
                <a:spcPts val="1195"/>
              </a:lnSpc>
            </a:pPr>
            <a:fld id="{81D60167-4931-47E6-BA6A-407CBD079E47}" type="slidenum">
              <a:rPr sz="1150" spc="-25" dirty="0"/>
              <a:t>‹#›</a:t>
            </a:fld>
            <a:endParaRPr sz="115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804" y="2088320"/>
            <a:ext cx="4879199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3795" y="2912232"/>
            <a:ext cx="5107208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2003" y="2088320"/>
            <a:ext cx="4865554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912232"/>
            <a:ext cx="5095357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92424" cy="190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528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MS PGothic" panose="020B0600070205080204" charset="-128"/>
              <a:cs typeface="+mn-cs"/>
              <a:sym typeface="Calibri" panose="020F0502020204030204" charset="0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ECFD0B6-5EAF-4D72-AD53-66495A2ABCC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>
            <a:fillRect/>
          </a:stretch>
        </p:blipFill>
        <p:spPr bwMode="auto">
          <a:xfrm>
            <a:off x="11075053" y="6529552"/>
            <a:ext cx="727808" cy="32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01"/>
          <a:stretch>
            <a:fillRect/>
          </a:stretch>
        </p:blipFill>
        <p:spPr bwMode="auto">
          <a:xfrm>
            <a:off x="11887527" y="5715002"/>
            <a:ext cx="304474" cy="686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82" b="28261"/>
          <a:stretch>
            <a:fillRect/>
          </a:stretch>
        </p:blipFill>
        <p:spPr bwMode="auto">
          <a:xfrm>
            <a:off x="11684000" y="6355476"/>
            <a:ext cx="508000" cy="502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Untitled-1-01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15" t="23978" r="13377" b="41695"/>
          <a:stretch>
            <a:fillRect/>
          </a:stretch>
        </p:blipFill>
        <p:spPr bwMode="auto">
          <a:xfrm>
            <a:off x="1" y="6347265"/>
            <a:ext cx="607321" cy="51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blue and yellow logo&#10;&#10;AI-generated content may be incorrect.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996" y="133608"/>
            <a:ext cx="1326094" cy="548640"/>
          </a:xfrm>
          <a:prstGeom prst="rect">
            <a:avLst/>
          </a:prstGeom>
        </p:spPr>
      </p:pic>
      <p:pic>
        <p:nvPicPr>
          <p:cNvPr id="10" name="Picture 9" descr="A black background with white text&#10;&#10;AI-generated content may be incorrect.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396"/>
            <a:ext cx="2369127" cy="7196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9A8CC8-AEC4-0E42-895C-C8261E3EED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82000"/>
                  </a:prstClr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82000"/>
                </a:prstClr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627803"/>
            <a:ext cx="5384800" cy="56358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627803"/>
            <a:ext cx="5384800" cy="56358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25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340" y="137160"/>
            <a:ext cx="10684263" cy="31728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30" b="1" i="0" cap="all">
                <a:latin typeface="Arial heading"/>
                <a:cs typeface="Arial" panose="020B06040202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B58ECC-9C26-4D34-B0AA-9FA75CE54C1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310885"/>
            <a:ext cx="12192000" cy="2545474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81" name="TextBox 4"/>
          <p:cNvSpPr txBox="1">
            <a:spLocks noChangeArrowheads="1"/>
          </p:cNvSpPr>
          <p:nvPr/>
        </p:nvSpPr>
        <p:spPr bwMode="auto">
          <a:xfrm>
            <a:off x="55359" y="45983"/>
            <a:ext cx="12136641" cy="447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154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17167" y="5723212"/>
            <a:ext cx="3254782" cy="729155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82" name="Title 1"/>
          <p:cNvSpPr>
            <a:spLocks noGrp="1"/>
          </p:cNvSpPr>
          <p:nvPr>
            <p:ph type="ctrTitle"/>
          </p:nvPr>
        </p:nvSpPr>
        <p:spPr>
          <a:xfrm>
            <a:off x="812800" y="868680"/>
            <a:ext cx="10769600" cy="14630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55" cap="all">
                <a:solidFill>
                  <a:srgbClr val="15A245"/>
                </a:solidFill>
                <a:latin typeface="Arial Black" panose="020B0A04020102020204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583" name="Subtitle 2"/>
          <p:cNvSpPr>
            <a:spLocks noGrp="1"/>
          </p:cNvSpPr>
          <p:nvPr>
            <p:ph type="subTitle" idx="1"/>
          </p:nvPr>
        </p:nvSpPr>
        <p:spPr>
          <a:xfrm>
            <a:off x="914400" y="2697480"/>
            <a:ext cx="8534400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40">
                <a:solidFill>
                  <a:srgbClr val="80C41C"/>
                </a:solidFill>
                <a:latin typeface="Arial" panose="020B0604020202020204"/>
                <a:cs typeface="Arial" panose="020B0604020202020204"/>
              </a:defRPr>
            </a:lvl1pPr>
            <a:lvl2pPr marL="464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29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4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5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4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8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54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19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84" name="Picture 2"/>
          <p:cNvPicPr>
            <a:picLocks noChangeAspect="1"/>
          </p:cNvPicPr>
          <p:nvPr/>
        </p:nvPicPr>
        <p:blipFill>
          <a:blip r:embed="rId2"/>
          <a:srcRect b="50000"/>
          <a:stretch>
            <a:fillRect/>
          </a:stretch>
        </p:blipFill>
        <p:spPr bwMode="auto">
          <a:xfrm>
            <a:off x="11075052" y="6529552"/>
            <a:ext cx="727808" cy="328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85" name="Picture 3"/>
          <p:cNvPicPr>
            <a:picLocks noChangeAspect="1"/>
          </p:cNvPicPr>
          <p:nvPr/>
        </p:nvPicPr>
        <p:blipFill>
          <a:blip r:embed="rId3"/>
          <a:srcRect r="60001"/>
          <a:stretch>
            <a:fillRect/>
          </a:stretch>
        </p:blipFill>
        <p:spPr bwMode="auto">
          <a:xfrm>
            <a:off x="11887526" y="5715000"/>
            <a:ext cx="304474" cy="68645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86" name="Picture 4"/>
          <p:cNvPicPr>
            <a:picLocks noChangeAspect="1"/>
          </p:cNvPicPr>
          <p:nvPr/>
        </p:nvPicPr>
        <p:blipFill>
          <a:blip r:embed="rId4"/>
          <a:srcRect r="34782" b="28261"/>
          <a:stretch>
            <a:fillRect/>
          </a:stretch>
        </p:blipFill>
        <p:spPr bwMode="auto">
          <a:xfrm>
            <a:off x="11684000" y="6355475"/>
            <a:ext cx="508000" cy="5025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87" name="Picture 5"/>
          <p:cNvPicPr>
            <a:picLocks noChangeAspect="1"/>
          </p:cNvPicPr>
          <p:nvPr/>
        </p:nvPicPr>
        <p:blipFill>
          <a:blip r:embed="rId5"/>
          <a:srcRect l="45615" t="23978" r="13377" b="41695"/>
          <a:stretch>
            <a:fillRect/>
          </a:stretch>
        </p:blipFill>
        <p:spPr bwMode="auto">
          <a:xfrm>
            <a:off x="0" y="6347264"/>
            <a:ext cx="607321" cy="512379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77" name="Title 1"/>
          <p:cNvSpPr>
            <a:spLocks noGrp="1"/>
          </p:cNvSpPr>
          <p:nvPr>
            <p:ph type="title"/>
          </p:nvPr>
        </p:nvSpPr>
        <p:spPr>
          <a:xfrm>
            <a:off x="609600" y="868680"/>
            <a:ext cx="10972800" cy="822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35" b="1" i="0" cap="all">
                <a:latin typeface="Arial heading"/>
                <a:cs typeface="Arial" panose="020B06040202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878" name="Content Placeholder 2"/>
          <p:cNvSpPr>
            <a:spLocks noGrp="1"/>
          </p:cNvSpPr>
          <p:nvPr>
            <p:ph idx="1"/>
          </p:nvPr>
        </p:nvSpPr>
        <p:spPr>
          <a:xfrm>
            <a:off x="609600" y="1645920"/>
            <a:ext cx="10972800" cy="45262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/>
                <a:cs typeface="Arial" panose="020B0604020202020204"/>
              </a:defRPr>
            </a:lvl1pPr>
            <a:lvl2pPr>
              <a:defRPr sz="1625">
                <a:latin typeface="Arial" panose="020B0604020202020204"/>
                <a:cs typeface="Arial" panose="020B0604020202020204"/>
              </a:defRPr>
            </a:lvl2pPr>
            <a:lvl3pPr>
              <a:defRPr sz="1625">
                <a:latin typeface="Arial" panose="020B0604020202020204"/>
                <a:cs typeface="Arial" panose="020B0604020202020204"/>
              </a:defRPr>
            </a:lvl3pPr>
            <a:lvl4pPr>
              <a:defRPr sz="1625">
                <a:latin typeface="Arial" panose="020B0604020202020204"/>
                <a:cs typeface="Arial" panose="020B0604020202020204"/>
              </a:defRPr>
            </a:lvl4pPr>
            <a:lvl5pPr>
              <a:defRPr sz="1625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87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03-10-2025</a:t>
            </a:r>
          </a:p>
        </p:txBody>
      </p:sp>
      <p:sp>
        <p:nvSpPr>
          <p:cNvPr id="104888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Q-1 performance Report | FSAS&amp;S Section</a:t>
            </a:r>
          </a:p>
        </p:txBody>
      </p:sp>
      <p:sp>
        <p:nvSpPr>
          <p:cNvPr id="104888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EBE04377-1CCC-4CC1-89A3-D7C8A4DF0A97}" type="slidenum">
              <a:rPr kumimoji="0" lang="en-US" altLang="en-US" sz="113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altLang="en-US" sz="113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88" name="Picture 2"/>
          <p:cNvPicPr>
            <a:picLocks noChangeAspect="1"/>
          </p:cNvPicPr>
          <p:nvPr/>
        </p:nvPicPr>
        <p:blipFill>
          <a:blip r:embed="rId2"/>
          <a:srcRect b="50000"/>
          <a:stretch>
            <a:fillRect/>
          </a:stretch>
        </p:blipFill>
        <p:spPr bwMode="auto">
          <a:xfrm>
            <a:off x="11075052" y="6529552"/>
            <a:ext cx="727808" cy="328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89" name="Picture 3"/>
          <p:cNvPicPr>
            <a:picLocks noChangeAspect="1"/>
          </p:cNvPicPr>
          <p:nvPr/>
        </p:nvPicPr>
        <p:blipFill>
          <a:blip r:embed="rId3"/>
          <a:srcRect r="60001"/>
          <a:stretch>
            <a:fillRect/>
          </a:stretch>
        </p:blipFill>
        <p:spPr bwMode="auto">
          <a:xfrm>
            <a:off x="11887526" y="5715000"/>
            <a:ext cx="304474" cy="68645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90" name="Picture 4"/>
          <p:cNvPicPr>
            <a:picLocks noChangeAspect="1"/>
          </p:cNvPicPr>
          <p:nvPr/>
        </p:nvPicPr>
        <p:blipFill>
          <a:blip r:embed="rId4"/>
          <a:srcRect r="34782" b="28261"/>
          <a:stretch>
            <a:fillRect/>
          </a:stretch>
        </p:blipFill>
        <p:spPr bwMode="auto">
          <a:xfrm>
            <a:off x="11684000" y="6355475"/>
            <a:ext cx="508000" cy="5025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91" name="Picture 5"/>
          <p:cNvPicPr>
            <a:picLocks noChangeAspect="1"/>
          </p:cNvPicPr>
          <p:nvPr/>
        </p:nvPicPr>
        <p:blipFill>
          <a:blip r:embed="rId5"/>
          <a:srcRect l="45615" t="23978" r="13377" b="41695"/>
          <a:stretch>
            <a:fillRect/>
          </a:stretch>
        </p:blipFill>
        <p:spPr bwMode="auto">
          <a:xfrm>
            <a:off x="0" y="6347264"/>
            <a:ext cx="607321" cy="512379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82" name="Title 1"/>
          <p:cNvSpPr>
            <a:spLocks noGrp="1"/>
          </p:cNvSpPr>
          <p:nvPr>
            <p:ph type="title"/>
          </p:nvPr>
        </p:nvSpPr>
        <p:spPr>
          <a:xfrm>
            <a:off x="609600" y="960120"/>
            <a:ext cx="10972800" cy="5486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35" b="1" cap="all">
                <a:latin typeface="Arial heading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88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54480"/>
            <a:ext cx="5384800" cy="4709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/>
                <a:cs typeface="Arial" panose="020B0604020202020204"/>
              </a:defRPr>
            </a:lvl1pPr>
            <a:lvl2pPr>
              <a:defRPr sz="1625">
                <a:latin typeface="Arial" panose="020B0604020202020204"/>
                <a:cs typeface="Arial" panose="020B0604020202020204"/>
              </a:defRPr>
            </a:lvl2pPr>
            <a:lvl3pPr>
              <a:defRPr sz="1625">
                <a:latin typeface="Arial" panose="020B0604020202020204"/>
                <a:cs typeface="Arial" panose="020B0604020202020204"/>
              </a:defRPr>
            </a:lvl3pPr>
            <a:lvl4pPr>
              <a:defRPr sz="1625">
                <a:latin typeface="Arial" panose="020B0604020202020204"/>
                <a:cs typeface="Arial" panose="020B0604020202020204"/>
              </a:defRPr>
            </a:lvl4pPr>
            <a:lvl5pPr>
              <a:defRPr sz="1625">
                <a:latin typeface="Arial" panose="020B0604020202020204"/>
                <a:cs typeface="Arial" panose="020B0604020202020204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884" name="Content Placeholder 3"/>
          <p:cNvSpPr>
            <a:spLocks noGrp="1"/>
          </p:cNvSpPr>
          <p:nvPr>
            <p:ph sz="half" idx="2"/>
          </p:nvPr>
        </p:nvSpPr>
        <p:spPr>
          <a:xfrm>
            <a:off x="6197602" y="1554480"/>
            <a:ext cx="5384800" cy="4709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25">
                <a:latin typeface="Arial" panose="020B0604020202020204"/>
                <a:cs typeface="Arial" panose="020B0604020202020204"/>
              </a:defRPr>
            </a:lvl1pPr>
            <a:lvl2pPr>
              <a:defRPr sz="1625">
                <a:latin typeface="Arial" panose="020B0604020202020204"/>
                <a:cs typeface="Arial" panose="020B0604020202020204"/>
              </a:defRPr>
            </a:lvl2pPr>
            <a:lvl3pPr>
              <a:defRPr sz="1625">
                <a:latin typeface="Arial" panose="020B0604020202020204"/>
                <a:cs typeface="Arial" panose="020B0604020202020204"/>
              </a:defRPr>
            </a:lvl3pPr>
            <a:lvl4pPr>
              <a:defRPr sz="1625">
                <a:latin typeface="Arial" panose="020B0604020202020204"/>
                <a:cs typeface="Arial" panose="020B0604020202020204"/>
              </a:defRPr>
            </a:lvl4pPr>
            <a:lvl5pPr>
              <a:defRPr sz="1625">
                <a:latin typeface="Arial" panose="020B0604020202020204"/>
                <a:cs typeface="Arial" panose="020B0604020202020204"/>
              </a:defRPr>
            </a:lvl5pPr>
            <a:lvl6pPr>
              <a:defRPr sz="1830"/>
            </a:lvl6pPr>
            <a:lvl7pPr>
              <a:defRPr sz="1830"/>
            </a:lvl7pPr>
            <a:lvl8pPr>
              <a:defRPr sz="1830"/>
            </a:lvl8pPr>
            <a:lvl9pPr>
              <a:defRPr sz="183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88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03-10-2025</a:t>
            </a:r>
          </a:p>
        </p:txBody>
      </p:sp>
      <p:sp>
        <p:nvSpPr>
          <p:cNvPr id="104888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Q-1 performance Report | FSAS&amp;S Section</a:t>
            </a:r>
          </a:p>
        </p:txBody>
      </p:sp>
      <p:sp>
        <p:nvSpPr>
          <p:cNvPr id="104888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95D67FA7-2702-434A-B2CE-A0955534B3AB}" type="slidenum">
              <a:rPr kumimoji="0" lang="en-US" altLang="en-US" sz="113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altLang="en-US" sz="113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9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93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475" y="528802"/>
            <a:ext cx="3150576" cy="707807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88" name="Title 1"/>
          <p:cNvSpPr>
            <a:spLocks noGrp="1"/>
          </p:cNvSpPr>
          <p:nvPr>
            <p:ph type="title"/>
          </p:nvPr>
        </p:nvSpPr>
        <p:spPr>
          <a:xfrm>
            <a:off x="609600" y="2766060"/>
            <a:ext cx="9601200" cy="1325880"/>
          </a:xfrm>
          <a:prstGeom prst="rect">
            <a:avLst/>
          </a:prstGeom>
        </p:spPr>
        <p:txBody>
          <a:bodyPr/>
          <a:lstStyle>
            <a:lvl1pPr algn="l">
              <a:defRPr sz="325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94" name="Picture 7"/>
          <p:cNvPicPr>
            <a:picLocks noChangeAspect="1"/>
          </p:cNvPicPr>
          <p:nvPr/>
        </p:nvPicPr>
        <p:blipFill>
          <a:blip r:embed="rId2"/>
          <a:srcRect l="29247" t="-11240" r="5742" b="43100"/>
          <a:stretch>
            <a:fillRect/>
          </a:stretch>
        </p:blipFill>
        <p:spPr bwMode="auto">
          <a:xfrm>
            <a:off x="0" y="0"/>
            <a:ext cx="12297834" cy="7370379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89" name="TextBox 3"/>
          <p:cNvSpPr txBox="1">
            <a:spLocks noChangeArrowheads="1"/>
          </p:cNvSpPr>
          <p:nvPr/>
        </p:nvSpPr>
        <p:spPr bwMode="auto">
          <a:xfrm>
            <a:off x="7315526" y="0"/>
            <a:ext cx="4876474" cy="4839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295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475" y="528802"/>
            <a:ext cx="3150576" cy="707807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90" name="Title 1"/>
          <p:cNvSpPr>
            <a:spLocks noGrp="1"/>
          </p:cNvSpPr>
          <p:nvPr>
            <p:ph type="title"/>
          </p:nvPr>
        </p:nvSpPr>
        <p:spPr>
          <a:xfrm>
            <a:off x="1117600" y="276606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325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8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526" y="497600"/>
            <a:ext cx="3288974" cy="73736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83" name="Picture 8"/>
          <p:cNvPicPr>
            <a:picLocks noChangeAspect="1"/>
          </p:cNvPicPr>
          <p:nvPr/>
        </p:nvPicPr>
        <p:blipFill>
          <a:blip r:embed="rId3"/>
          <a:srcRect l="29247" t="-11240" r="5742" b="43100"/>
          <a:stretch>
            <a:fillRect/>
          </a:stretch>
        </p:blipFill>
        <p:spPr bwMode="auto">
          <a:xfrm>
            <a:off x="0" y="0"/>
            <a:ext cx="12297834" cy="7370379"/>
          </a:xfrm>
          <a:prstGeom prst="rect">
            <a:avLst/>
          </a:prstGeom>
          <a:noFill/>
          <a:ln>
            <a:noFill/>
          </a:ln>
        </p:spPr>
      </p:pic>
      <p:sp>
        <p:nvSpPr>
          <p:cNvPr id="1048875" name="TextBox 4"/>
          <p:cNvSpPr txBox="1">
            <a:spLocks noChangeArrowheads="1"/>
          </p:cNvSpPr>
          <p:nvPr/>
        </p:nvSpPr>
        <p:spPr bwMode="auto">
          <a:xfrm>
            <a:off x="7212949" y="0"/>
            <a:ext cx="4878103" cy="4839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8876" name="Title 1"/>
          <p:cNvSpPr>
            <a:spLocks noGrp="1"/>
          </p:cNvSpPr>
          <p:nvPr>
            <p:ph type="title"/>
          </p:nvPr>
        </p:nvSpPr>
        <p:spPr>
          <a:xfrm>
            <a:off x="838200" y="2766060"/>
            <a:ext cx="10515600" cy="1325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0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311650"/>
            <a:ext cx="12192000" cy="25463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8" name="TextBox 4"/>
          <p:cNvSpPr txBox="1">
            <a:spLocks noChangeArrowheads="1"/>
          </p:cNvSpPr>
          <p:nvPr/>
        </p:nvSpPr>
        <p:spPr bwMode="auto">
          <a:xfrm>
            <a:off x="55563" y="46038"/>
            <a:ext cx="12136437" cy="4619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41" name="Picture 9"/>
          <p:cNvPicPr>
            <a:picLocks noChangeAspect="1" noChangeArrowheads="1"/>
          </p:cNvPicPr>
          <p:nvPr/>
        </p:nvPicPr>
        <p:blipFill>
          <a:blip r:embed="rId3"/>
          <a:srcRect l="12701" t="30670" r="12289" b="31364"/>
          <a:stretch>
            <a:fillRect/>
          </a:stretch>
        </p:blipFill>
        <p:spPr bwMode="auto">
          <a:xfrm>
            <a:off x="5235575" y="4938713"/>
            <a:ext cx="4846638" cy="129381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42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4311650"/>
            <a:ext cx="12192000" cy="2544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9" name="TextBox 7"/>
          <p:cNvSpPr txBox="1">
            <a:spLocks noChangeArrowheads="1"/>
          </p:cNvSpPr>
          <p:nvPr/>
        </p:nvSpPr>
        <p:spPr bwMode="auto">
          <a:xfrm>
            <a:off x="55563" y="46038"/>
            <a:ext cx="12136437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43" name="Picture 1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116638" y="5722938"/>
            <a:ext cx="3255962" cy="728662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90" name="Title 1"/>
          <p:cNvSpPr>
            <a:spLocks noGrp="1"/>
          </p:cNvSpPr>
          <p:nvPr>
            <p:ph type="ctrTitle"/>
          </p:nvPr>
        </p:nvSpPr>
        <p:spPr>
          <a:xfrm>
            <a:off x="812800" y="868680"/>
            <a:ext cx="10769600" cy="14630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cap="all">
                <a:solidFill>
                  <a:srgbClr val="15A245"/>
                </a:solidFill>
                <a:latin typeface="Arial Black" panose="020B0A04020102020204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991" name="Subtitle 2"/>
          <p:cNvSpPr>
            <a:spLocks noGrp="1"/>
          </p:cNvSpPr>
          <p:nvPr>
            <p:ph type="subTitle" idx="1"/>
          </p:nvPr>
        </p:nvSpPr>
        <p:spPr>
          <a:xfrm>
            <a:off x="914400" y="2697480"/>
            <a:ext cx="8534400" cy="731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80C41C"/>
                </a:solidFill>
                <a:latin typeface="Arial" panose="020B0604020202020204"/>
                <a:cs typeface="Arial" panose="020B0604020202020204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57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58" name="Picture 2"/>
          <p:cNvPicPr>
            <a:picLocks noChangeAspect="1"/>
          </p:cNvPicPr>
          <p:nvPr/>
        </p:nvPicPr>
        <p:blipFill>
          <a:blip r:embed="rId4"/>
          <a:srcRect b="50000"/>
          <a:stretch>
            <a:fillRect/>
          </a:stretch>
        </p:blipFill>
        <p:spPr bwMode="auto">
          <a:xfrm>
            <a:off x="11074400" y="6529388"/>
            <a:ext cx="728663" cy="328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59" name="Picture 3"/>
          <p:cNvPicPr>
            <a:picLocks noChangeAspect="1"/>
          </p:cNvPicPr>
          <p:nvPr/>
        </p:nvPicPr>
        <p:blipFill>
          <a:blip r:embed="rId5"/>
          <a:srcRect r="60001"/>
          <a:stretch>
            <a:fillRect/>
          </a:stretch>
        </p:blipFill>
        <p:spPr bwMode="auto">
          <a:xfrm>
            <a:off x="11887200" y="5715000"/>
            <a:ext cx="304800" cy="685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60" name="Picture 4"/>
          <p:cNvPicPr>
            <a:picLocks noChangeAspect="1"/>
          </p:cNvPicPr>
          <p:nvPr/>
        </p:nvPicPr>
        <p:blipFill>
          <a:blip r:embed="rId6"/>
          <a:srcRect r="34782" b="28261"/>
          <a:stretch>
            <a:fillRect/>
          </a:stretch>
        </p:blipFill>
        <p:spPr bwMode="auto">
          <a:xfrm>
            <a:off x="11684000" y="6354763"/>
            <a:ext cx="508000" cy="5032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61" name="Picture 5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6346825"/>
            <a:ext cx="608013" cy="512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97" name="Title 1"/>
          <p:cNvSpPr>
            <a:spLocks noGrp="1"/>
          </p:cNvSpPr>
          <p:nvPr>
            <p:ph type="title"/>
          </p:nvPr>
        </p:nvSpPr>
        <p:spPr>
          <a:xfrm>
            <a:off x="609600" y="52013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598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 baseline="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859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542290">
              <a:defRPr sz="1220">
                <a:ea typeface="MS PGothic" panose="020B0600070205080204" charset="-128"/>
              </a:defRPr>
            </a:lvl1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03-10-2025</a:t>
            </a:r>
          </a:p>
        </p:txBody>
      </p:sp>
      <p:sp>
        <p:nvSpPr>
          <p:cNvPr id="104860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542290">
              <a:defRPr sz="1220">
                <a:ea typeface="MS PGothic" panose="020B0600070205080204" charset="-128"/>
              </a:defRPr>
            </a:lvl1pPr>
          </a:lstStyle>
          <a:p>
            <a:pPr marL="0" marR="0" lvl="0" indent="0" algn="ctr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Q-1 performance Report | FSAS&amp;S Section</a:t>
            </a:r>
          </a:p>
        </p:txBody>
      </p:sp>
      <p:sp>
        <p:nvSpPr>
          <p:cNvPr id="104860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 sz="1130">
                <a:solidFill>
                  <a:srgbClr val="898989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E0E17024-2BC9-490A-8B51-3E1B41D4B505}" type="slidenum">
              <a:rPr kumimoji="0" lang="en-US" altLang="en-US" sz="113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altLang="en-US" sz="113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07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95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95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F2419EBE-5B33-42FF-AD29-0840DC2076F0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30" name="A67737C9-E46B-4C42-B3C9-A93B4B751276" descr="A67737C9-E46B-4C42-B3C9-A93B4B75127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03275"/>
            <a:ext cx="12192000" cy="616743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5" name="Title 1"/>
          <p:cNvSpPr txBox="1"/>
          <p:nvPr/>
        </p:nvSpPr>
        <p:spPr bwMode="auto">
          <a:xfrm>
            <a:off x="625475" y="41275"/>
            <a:ext cx="10948988" cy="549275"/>
          </a:xfrm>
          <a:prstGeom prst="rect">
            <a:avLst/>
          </a:prstGeom>
          <a:noFill/>
          <a:ln>
            <a:noFill/>
          </a:ln>
        </p:spPr>
        <p:txBody>
          <a:bodyPr lIns="91434" tIns="45716" rIns="91434" bIns="45716" anchor="ctr">
            <a:normAutofit/>
          </a:bodyPr>
          <a:lstStyle>
            <a:lvl1pPr algn="l" defTabSz="472440" rtl="0" eaLnBrk="0" fontAlgn="base" hangingPunct="0">
              <a:spcBef>
                <a:spcPct val="0"/>
              </a:spcBef>
              <a:spcAft>
                <a:spcPct val="0"/>
              </a:spcAft>
              <a:defRPr sz="2070" b="1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MS PGothic" panose="020B0600070205080204" charset="-128"/>
              </a:defRPr>
            </a:lvl1pPr>
            <a:lvl2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472440" rtl="0" eaLnBrk="0" fontAlgn="base" hangingPunct="0">
              <a:spcBef>
                <a:spcPct val="0"/>
              </a:spcBef>
              <a:spcAft>
                <a:spcPct val="0"/>
              </a:spcAft>
              <a:defRPr sz="4525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47244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94551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417955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1891030" algn="ctr" defTabSz="472440" rtl="0" fontAlgn="base">
              <a:spcBef>
                <a:spcPct val="0"/>
              </a:spcBef>
              <a:spcAft>
                <a:spcPct val="0"/>
              </a:spcAft>
              <a:defRPr sz="455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0" marR="0" lvl="0" indent="0" algn="l" defTabSz="4724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sz="2070" b="1" i="0" u="none" strike="noStrike" kern="1200" cap="all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Black" panose="020B0A04020102020204" pitchFamily="34" charset="0"/>
                <a:ea typeface="MS PGothic" panose="020B0600070205080204" charset="-128"/>
              </a:rPr>
              <a:t>STRATEGIC THEMES</a:t>
            </a:r>
          </a:p>
        </p:txBody>
      </p:sp>
      <p:sp>
        <p:nvSpPr>
          <p:cNvPr id="1048976" name="TextBox 1"/>
          <p:cNvSpPr txBox="1">
            <a:spLocks noChangeArrowheads="1"/>
          </p:cNvSpPr>
          <p:nvPr/>
        </p:nvSpPr>
        <p:spPr bwMode="auto">
          <a:xfrm>
            <a:off x="625475" y="615950"/>
            <a:ext cx="10394950" cy="3746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l" defTabSz="5410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1830" b="1" i="0" u="none" strike="noStrike" kern="1200" cap="none" spc="0" normalizeH="0" baseline="0" noProof="0" dirty="0">
                <a:ln>
                  <a:noFill/>
                </a:ln>
                <a:solidFill>
                  <a:srgbClr val="00AB4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BRIDGE (</a:t>
            </a:r>
            <a:r>
              <a:rPr kumimoji="0" lang="en-US" altLang="en-US" sz="1830" b="1" i="0" u="none" strike="noStrike" kern="1200" cap="none" spc="0" normalizeH="0" baseline="0" noProof="0" dirty="0">
                <a:ln>
                  <a:noFill/>
                </a:ln>
                <a:solidFill>
                  <a:srgbClr val="00AB4E"/>
                </a:solidFill>
                <a:effectLst/>
                <a:uLnTx/>
                <a:uFillTx/>
                <a:latin typeface="Nyala" panose="02000504070300020003" pitchFamily="2" charset="0"/>
                <a:ea typeface="MS PGothic" panose="020B0600070205080204" charset="-128"/>
                <a:cs typeface="Arial" panose="020B0604020202020204" pitchFamily="34" charset="0"/>
              </a:rPr>
              <a:t>ድልድይ</a:t>
            </a:r>
            <a:endParaRPr kumimoji="0" lang="en-US" altLang="en-US" sz="18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pic>
        <p:nvPicPr>
          <p:cNvPr id="2097331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8978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8979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619FB370-2DB9-453C-B200-60E3ADDA2EE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20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2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64" name="Title 1"/>
          <p:cNvSpPr>
            <a:spLocks noGrp="1"/>
          </p:cNvSpPr>
          <p:nvPr>
            <p:ph type="title"/>
          </p:nvPr>
        </p:nvSpPr>
        <p:spPr>
          <a:xfrm>
            <a:off x="609600" y="52013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965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8966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967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96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3CEAD1EC-7EA2-4C39-BA40-F314BEAC00C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8" y="609600"/>
            <a:ext cx="3932237" cy="2362200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8064" y="609600"/>
            <a:ext cx="6189492" cy="51816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7228" y="2971800"/>
            <a:ext cx="3932237" cy="2819399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solidFill>
          <a:srgbClr val="97C3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92" name="Rectangle 4"/>
          <p:cNvSpPr/>
          <p:nvPr/>
        </p:nvSpPr>
        <p:spPr>
          <a:xfrm>
            <a:off x="0" y="-15875"/>
            <a:ext cx="12198350" cy="62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345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93" name="Title 1"/>
          <p:cNvSpPr>
            <a:spLocks noGrp="1"/>
          </p:cNvSpPr>
          <p:nvPr>
            <p:ph type="title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994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899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99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99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E6F3DACA-D83D-4B68-9621-109A964B5DA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solidFill>
          <a:srgbClr val="09B0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6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5" name="Rectangle 4"/>
          <p:cNvSpPr/>
          <p:nvPr/>
        </p:nvSpPr>
        <p:spPr>
          <a:xfrm>
            <a:off x="0" y="-15875"/>
            <a:ext cx="12198350" cy="62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367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6" name="Title 1"/>
          <p:cNvSpPr>
            <a:spLocks noGrp="1"/>
          </p:cNvSpPr>
          <p:nvPr>
            <p:ph type="title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9017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901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901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902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729315BF-48B6-497C-8E05-4850A74A361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solidFill>
          <a:srgbClr val="29B9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1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8" name="Rectangle 4"/>
          <p:cNvSpPr/>
          <p:nvPr/>
        </p:nvSpPr>
        <p:spPr>
          <a:xfrm>
            <a:off x="0" y="-15875"/>
            <a:ext cx="12192000" cy="62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319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9" name="Title 1"/>
          <p:cNvSpPr>
            <a:spLocks noGrp="1"/>
          </p:cNvSpPr>
          <p:nvPr>
            <p:ph type="title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960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8961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962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9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82FE8CFA-FF11-4169-8AFC-BC0E9E771F1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3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0" name="Rectangle 4"/>
          <p:cNvSpPr/>
          <p:nvPr/>
        </p:nvSpPr>
        <p:spPr>
          <a:xfrm>
            <a:off x="0" y="-15875"/>
            <a:ext cx="12192000" cy="62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333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1" name="Title 1"/>
          <p:cNvSpPr>
            <a:spLocks noGrp="1"/>
          </p:cNvSpPr>
          <p:nvPr>
            <p:ph type="title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982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898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98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98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6010146B-B8B6-45EC-ADA6-5E4B511CEDA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solidFill>
          <a:srgbClr val="FEC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5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854700"/>
            <a:ext cx="12198350" cy="10033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03" name="Rectangle 4"/>
          <p:cNvSpPr/>
          <p:nvPr/>
        </p:nvSpPr>
        <p:spPr>
          <a:xfrm>
            <a:off x="0" y="-15875"/>
            <a:ext cx="12192000" cy="62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355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64800" y="136525"/>
            <a:ext cx="1524000" cy="341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04" name="Title 1"/>
          <p:cNvSpPr>
            <a:spLocks noGrp="1"/>
          </p:cNvSpPr>
          <p:nvPr>
            <p:ph type="title"/>
          </p:nvPr>
        </p:nvSpPr>
        <p:spPr>
          <a:xfrm>
            <a:off x="609600" y="733495"/>
            <a:ext cx="10972800" cy="62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="1" i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9005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9006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9007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900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73813"/>
            <a:ext cx="2362200" cy="347662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F09C1DDA-62CE-4AEA-A363-DEFDA6EAAB6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7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29" name="Slide Number Placeholder 4"/>
          <p:cNvSpPr txBox="1"/>
          <p:nvPr/>
        </p:nvSpPr>
        <p:spPr>
          <a:xfrm>
            <a:off x="8610600" y="6373813"/>
            <a:ext cx="2362200" cy="34766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defTabSz="576580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898989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defRPr>
            </a:lvl1pPr>
            <a:lvl2pPr marL="576580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2pPr>
            <a:lvl3pPr marL="115379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3pPr>
            <a:lvl4pPr marL="173037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4pPr>
            <a:lvl5pPr marL="2306955" algn="l" defTabSz="576580" rtl="0" eaLnBrk="0" fontAlgn="base" hangingPunct="0">
              <a:spcBef>
                <a:spcPct val="0"/>
              </a:spcBef>
              <a:spcAft>
                <a:spcPct val="0"/>
              </a:spcAft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5pPr>
            <a:lvl6pPr marL="2883535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6pPr>
            <a:lvl7pPr marL="346075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7pPr>
            <a:lvl8pPr marL="403733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8pPr>
            <a:lvl9pPr marL="4613910" algn="l" defTabSz="1153795" rtl="0" eaLnBrk="1" latinLnBrk="0" hangingPunct="1">
              <a:defRPr sz="3030" kern="12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+mn-cs"/>
              </a:defRPr>
            </a:lvl9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4065D92-6E2A-4E03-A790-4E3A53EFDFB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1049030" name="Title 1"/>
          <p:cNvSpPr>
            <a:spLocks noGrp="1"/>
          </p:cNvSpPr>
          <p:nvPr>
            <p:ph type="title"/>
          </p:nvPr>
        </p:nvSpPr>
        <p:spPr>
          <a:xfrm>
            <a:off x="609600" y="685800"/>
            <a:ext cx="10972800" cy="5943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9031" name="Content Placeholder 2"/>
          <p:cNvSpPr>
            <a:spLocks noGrp="1"/>
          </p:cNvSpPr>
          <p:nvPr>
            <p:ph idx="1"/>
          </p:nvPr>
        </p:nvSpPr>
        <p:spPr>
          <a:xfrm>
            <a:off x="609600" y="1325880"/>
            <a:ext cx="10972800" cy="484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 baseline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  <a:lvl2pPr>
              <a:defRPr sz="1600">
                <a:latin typeface="Arial" panose="020B0604020202020204"/>
                <a:cs typeface="Arial" panose="020B0604020202020204"/>
              </a:defRPr>
            </a:lvl2pPr>
            <a:lvl3pPr>
              <a:defRPr sz="1600">
                <a:latin typeface="Arial" panose="020B0604020202020204"/>
                <a:cs typeface="Arial" panose="020B0604020202020204"/>
              </a:defRPr>
            </a:lvl3pPr>
            <a:lvl4pPr>
              <a:defRPr sz="1600">
                <a:latin typeface="Arial" panose="020B0604020202020204"/>
                <a:cs typeface="Arial" panose="020B0604020202020204"/>
              </a:defRPr>
            </a:lvl4pPr>
            <a:lvl5pPr>
              <a:defRPr sz="1600">
                <a:latin typeface="Arial" panose="020B0604020202020204"/>
                <a:cs typeface="Arial" panose="020B0604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903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903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10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2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3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6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1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17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7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60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6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62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38200" y="496888"/>
            <a:ext cx="3289300" cy="738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63" name="Picture 8"/>
          <p:cNvPicPr>
            <a:picLocks noChangeAspect="1"/>
          </p:cNvPicPr>
          <p:nvPr/>
        </p:nvPicPr>
        <p:blipFill>
          <a:blip r:embed="rId5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2" name="TextBox 6"/>
          <p:cNvSpPr txBox="1">
            <a:spLocks noChangeArrowheads="1"/>
          </p:cNvSpPr>
          <p:nvPr/>
        </p:nvSpPr>
        <p:spPr bwMode="auto">
          <a:xfrm>
            <a:off x="7213600" y="0"/>
            <a:ext cx="48768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86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sp>
        <p:nvSpPr>
          <p:cNvPr id="1049013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67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8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81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67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82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36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7" y="609600"/>
            <a:ext cx="5929773" cy="2362200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4" y="758881"/>
            <a:ext cx="3255356" cy="4883038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971800"/>
            <a:ext cx="5934950" cy="28194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3-10-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Q-1 performance Report | FSAS&amp;S Sec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0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5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06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51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3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9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3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3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9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37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86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49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50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51" name="Picture 1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2800" y="528638"/>
            <a:ext cx="3149600" cy="7080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00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7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26" name="TextBox 3"/>
          <p:cNvSpPr txBox="1">
            <a:spLocks noChangeArrowheads="1"/>
          </p:cNvSpPr>
          <p:nvPr/>
        </p:nvSpPr>
        <p:spPr bwMode="auto">
          <a:xfrm>
            <a:off x="7315200" y="0"/>
            <a:ext cx="4876800" cy="4619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73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50863"/>
            <a:ext cx="3144838" cy="7127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74" name="Picture 7"/>
          <p:cNvPicPr>
            <a:picLocks noChangeAspect="1"/>
          </p:cNvPicPr>
          <p:nvPr/>
        </p:nvPicPr>
        <p:blipFill>
          <a:blip r:embed="rId4"/>
          <a:srcRect l="29247" t="-11240" r="5742" b="43100"/>
          <a:stretch>
            <a:fillRect/>
          </a:stretch>
        </p:blipFill>
        <p:spPr bwMode="auto">
          <a:xfrm>
            <a:off x="0" y="0"/>
            <a:ext cx="12298363" cy="7370763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27" name="TextBox 6"/>
          <p:cNvSpPr txBox="1">
            <a:spLocks noChangeArrowheads="1"/>
          </p:cNvSpPr>
          <p:nvPr/>
        </p:nvSpPr>
        <p:spPr bwMode="auto">
          <a:xfrm>
            <a:off x="7315200" y="0"/>
            <a:ext cx="4876800" cy="484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sz="24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charset="0"/>
              <a:ea typeface="MS PGothic" panose="020B0600070205080204" charset="-128"/>
            </a:endParaRPr>
          </a:p>
        </p:txBody>
      </p:sp>
      <p:pic>
        <p:nvPicPr>
          <p:cNvPr id="2097375" name="Picture 1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2800" y="528638"/>
            <a:ext cx="3149600" cy="7080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28" name="Title 1"/>
          <p:cNvSpPr>
            <a:spLocks noGrp="1"/>
          </p:cNvSpPr>
          <p:nvPr>
            <p:ph type="title"/>
          </p:nvPr>
        </p:nvSpPr>
        <p:spPr>
          <a:xfrm>
            <a:off x="1117600" y="2514600"/>
            <a:ext cx="9601200" cy="1325880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9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4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894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894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0FC24D15-FDE6-4AC2-9534-4CAEB808791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2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67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2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1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28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29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74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5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57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2800" y="528638"/>
            <a:ext cx="3149600" cy="7080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09" name="Title 1"/>
          <p:cNvSpPr>
            <a:spLocks noGrp="1"/>
          </p:cNvSpPr>
          <p:nvPr>
            <p:ph type="title"/>
          </p:nvPr>
        </p:nvSpPr>
        <p:spPr>
          <a:xfrm>
            <a:off x="609600" y="2766060"/>
            <a:ext cx="9601200" cy="1325880"/>
          </a:xfrm>
          <a:prstGeom prst="rect">
            <a:avLst/>
          </a:prstGeom>
        </p:spPr>
        <p:txBody>
          <a:bodyPr/>
          <a:lstStyle>
            <a:lvl1pPr algn="l">
              <a:defRPr sz="3255" b="1">
                <a:latin typeface="Arial heading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6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9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36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014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96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297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457200"/>
            <a:ext cx="2636837" cy="70485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944" name="Title 1"/>
          <p:cNvSpPr>
            <a:spLocks noGrp="1"/>
          </p:cNvSpPr>
          <p:nvPr>
            <p:ph type="title"/>
          </p:nvPr>
        </p:nvSpPr>
        <p:spPr>
          <a:xfrm>
            <a:off x="468923" y="2819400"/>
            <a:ext cx="4532923" cy="1104900"/>
          </a:xfrm>
        </p:spPr>
        <p:txBody>
          <a:bodyPr/>
          <a:lstStyle>
            <a:lvl1pPr>
              <a:defRPr lang="en-US" sz="2400" b="1" kern="1200" cap="all" dirty="0">
                <a:solidFill>
                  <a:srgbClr val="15A245"/>
                </a:solidFill>
                <a:latin typeface="Arial Black" panose="020B0A04020102020204"/>
                <a:ea typeface="MS PGothic" panose="020B0600070205080204" charset="-128"/>
                <a:cs typeface="Arial Black" panose="020B0A04020102020204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3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image" Target="../media/image24.jpeg"/><Relationship Id="rId5" Type="http://schemas.openxmlformats.org/officeDocument/2006/relationships/tags" Target="../tags/tag10.x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52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24.jpe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25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55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25.emf"/><Relationship Id="rId4" Type="http://schemas.openxmlformats.org/officeDocument/2006/relationships/slideLayout" Target="../slideLayouts/slideLayout56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image" Target="../media/image29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theme" Target="../theme/theme7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3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96064"/>
            <a:ext cx="10353762" cy="3695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4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F02FB-0D16-4DE5-BA22-C5DCBC609461}" type="slidenum">
              <a:rPr lang="en-US" smtClean="0"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hf hd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400" b="1" i="0" kern="1200" cap="all">
          <a:solidFill>
            <a:schemeClr val="tx1"/>
          </a:solidFill>
          <a:effectLst>
            <a:outerShdw blurRad="50800" dist="63500" dir="2700000" algn="tl" rotWithShape="0">
              <a:srgbClr val="000000">
                <a:alpha val="48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715" imgH="5715" progId="TCLayout.ActiveDocument.1">
                  <p:embed/>
                </p:oleObj>
              </mc:Choice>
              <mc:Fallback>
                <p:oleObj name="think-cell Slide" r:id="rId7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986"/>
            <a:ext cx="2743200" cy="36385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2900" marR="0" indent="-34290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</p:sldLayoutIdLst>
  <p:hf hdr="0"/>
  <p:txStyles>
    <p:titleStyle>
      <a:lvl1pPr algn="l" defTabSz="891540" rtl="0" eaLnBrk="1" latinLnBrk="0" hangingPunct="1">
        <a:lnSpc>
          <a:spcPct val="90000"/>
        </a:lnSpc>
        <a:spcBef>
          <a:spcPct val="0"/>
        </a:spcBef>
        <a:buNone/>
        <a:defRPr sz="429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2885" indent="-222885" algn="l" defTabSz="891540" rtl="0" eaLnBrk="1" latinLnBrk="0" hangingPunct="1">
        <a:lnSpc>
          <a:spcPct val="90000"/>
        </a:lnSpc>
        <a:spcBef>
          <a:spcPts val="975"/>
        </a:spcBef>
        <a:buFont typeface="Arial" panose="020B0604020202020204" pitchFamily="34" charset="0"/>
        <a:buChar char="•"/>
        <a:defRPr sz="273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1442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6019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200596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45173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89750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78904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7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31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8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85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9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</p:sldLayoutIdLst>
  <p:hf hdr="0"/>
  <p:txStyles>
    <p:titleStyle>
      <a:lvl1pPr algn="l" defTabSz="891540" rtl="0" eaLnBrk="1" latinLnBrk="0" hangingPunct="1">
        <a:lnSpc>
          <a:spcPct val="90000"/>
        </a:lnSpc>
        <a:spcBef>
          <a:spcPct val="0"/>
        </a:spcBef>
        <a:buNone/>
        <a:defRPr sz="429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2885" indent="-222885" algn="l" defTabSz="891540" rtl="0" eaLnBrk="1" latinLnBrk="0" hangingPunct="1">
        <a:lnSpc>
          <a:spcPct val="90000"/>
        </a:lnSpc>
        <a:spcBef>
          <a:spcPts val="975"/>
        </a:spcBef>
        <a:buFont typeface="Arial" panose="020B0604020202020204" pitchFamily="34" charset="0"/>
        <a:buChar char="•"/>
        <a:defRPr sz="273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1442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6019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200596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45173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89750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78904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7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31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8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85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9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685800"/>
            <a:ext cx="10515600" cy="59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8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4990"/>
            <a:ext cx="10515600" cy="4352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 dirty="0"/>
              <a:t>Edit Master text styles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dirty="0"/>
              <a:t>Edit Master text styles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dirty="0"/>
              <a:t>Edit Master text styles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dirty="0"/>
              <a:t>Edit Master text styles</a:t>
            </a:r>
          </a:p>
          <a:p>
            <a:pPr lvl="0"/>
            <a:endParaRPr lang="en-US" altLang="en-US" dirty="0"/>
          </a:p>
          <a:p>
            <a:pPr lvl="0"/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986"/>
            <a:ext cx="2743200" cy="36385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2900" marR="0" indent="-34290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715" imgH="5715" progId="TCLayout.ActiveDocument.1">
                  <p:embed/>
                </p:oleObj>
              </mc:Choice>
              <mc:Fallback>
                <p:oleObj name="think-cell Slide" r:id="rId14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986"/>
            <a:ext cx="2743200" cy="36385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2900" marR="0" indent="-34290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15" imgH="5715" progId="TCLayout.ActiveDocument.1">
                  <p:embed/>
                </p:oleObj>
              </mc:Choice>
              <mc:Fallback>
                <p:oleObj name="think-cell Slide" r:id="rId9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986"/>
            <a:ext cx="2743200" cy="36385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57658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9A24AC-B248-4077-817C-623A92936FF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‹#›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2900" marR="0" indent="-34290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2" name="Picture 12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464475" y="105103"/>
            <a:ext cx="1524000" cy="343229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76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838527" y="366220"/>
            <a:ext cx="10514949" cy="13252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48577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527" y="1824531"/>
            <a:ext cx="10514949" cy="435358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48578" name="Date Placeholder 3"/>
          <p:cNvSpPr>
            <a:spLocks noGrp="1"/>
          </p:cNvSpPr>
          <p:nvPr>
            <p:ph type="dt" sz="half" idx="2"/>
          </p:nvPr>
        </p:nvSpPr>
        <p:spPr>
          <a:xfrm>
            <a:off x="838527" y="6357117"/>
            <a:ext cx="2743525" cy="362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542290">
              <a:defRPr sz="1220">
                <a:solidFill>
                  <a:schemeClr val="tx1">
                    <a:tint val="75000"/>
                  </a:schemeClr>
                </a:solidFill>
                <a:ea typeface="MS PGothic" panose="020B0600070205080204" charset="-128"/>
              </a:defRPr>
            </a:lvl1pPr>
          </a:lstStyle>
          <a:p>
            <a:pPr marL="0" marR="0" lvl="0" indent="0" algn="l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03-10-2025</a:t>
            </a:r>
          </a:p>
        </p:txBody>
      </p:sp>
      <p:sp>
        <p:nvSpPr>
          <p:cNvPr id="104857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7949" y="6357117"/>
            <a:ext cx="4116103" cy="3629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542290">
              <a:defRPr sz="1220">
                <a:solidFill>
                  <a:schemeClr val="tx1">
                    <a:tint val="75000"/>
                  </a:schemeClr>
                </a:solidFill>
                <a:ea typeface="MS PGothic" panose="020B0600070205080204" charset="-128"/>
              </a:defRPr>
            </a:lvl1pPr>
          </a:lstStyle>
          <a:p>
            <a:pPr marL="0" marR="0" lvl="0" indent="0" algn="ctr" defTabSz="542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2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MS PGothic" panose="020B0600070205080204" charset="-128"/>
                <a:cs typeface="+mn-cs"/>
              </a:rPr>
              <a:t>Q-1 performance Report | FSAS&amp;S Section</a:t>
            </a:r>
          </a:p>
        </p:txBody>
      </p:sp>
      <p:sp>
        <p:nvSpPr>
          <p:cNvPr id="104858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949" y="6357117"/>
            <a:ext cx="2743526" cy="36293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130">
                <a:solidFill>
                  <a:srgbClr val="898989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03957575-3A14-4657-86AB-CE7607D92241}" type="slidenum">
              <a:rPr kumimoji="0" lang="en-US" altLang="en-US" sz="113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altLang="en-US" sz="113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hf hdr="0"/>
  <p:txStyles>
    <p:titleStyle>
      <a:lvl1pPr algn="ctr" defTabSz="464185" rtl="0" eaLnBrk="1" fontAlgn="base" hangingPunct="1">
        <a:spcBef>
          <a:spcPct val="0"/>
        </a:spcBef>
        <a:spcAft>
          <a:spcPct val="0"/>
        </a:spcAft>
        <a:defRPr sz="4410" kern="1200">
          <a:solidFill>
            <a:schemeClr val="tx1"/>
          </a:solidFill>
          <a:latin typeface="+mj-lt"/>
          <a:ea typeface="MS PGothic" panose="020B0600070205080204" charset="-128"/>
          <a:cs typeface="MS PGothic" panose="020B0600070205080204" charset="-128"/>
        </a:defRPr>
      </a:lvl1pPr>
      <a:lvl2pPr algn="ctr" defTabSz="464185" rtl="0" eaLnBrk="1" fontAlgn="base" hangingPunct="1">
        <a:spcBef>
          <a:spcPct val="0"/>
        </a:spcBef>
        <a:spcAft>
          <a:spcPct val="0"/>
        </a:spcAft>
        <a:defRPr sz="441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2pPr>
      <a:lvl3pPr algn="ctr" defTabSz="464185" rtl="0" eaLnBrk="1" fontAlgn="base" hangingPunct="1">
        <a:spcBef>
          <a:spcPct val="0"/>
        </a:spcBef>
        <a:spcAft>
          <a:spcPct val="0"/>
        </a:spcAft>
        <a:defRPr sz="441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3pPr>
      <a:lvl4pPr algn="ctr" defTabSz="464185" rtl="0" eaLnBrk="1" fontAlgn="base" hangingPunct="1">
        <a:spcBef>
          <a:spcPct val="0"/>
        </a:spcBef>
        <a:spcAft>
          <a:spcPct val="0"/>
        </a:spcAft>
        <a:defRPr sz="441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4pPr>
      <a:lvl5pPr algn="ctr" defTabSz="464185" rtl="0" eaLnBrk="1" fontAlgn="base" hangingPunct="1">
        <a:spcBef>
          <a:spcPct val="0"/>
        </a:spcBef>
        <a:spcAft>
          <a:spcPct val="0"/>
        </a:spcAft>
        <a:defRPr sz="4410">
          <a:solidFill>
            <a:schemeClr val="tx1"/>
          </a:solidFill>
          <a:latin typeface="Calibri" panose="020F0502020204030204" charset="0"/>
          <a:ea typeface="MS PGothic" panose="020B0600070205080204" charset="-128"/>
          <a:cs typeface="MS PGothic" panose="020B0600070205080204" charset="-128"/>
        </a:defRPr>
      </a:lvl5pPr>
      <a:lvl6pPr marL="464820" algn="ctr" defTabSz="464820" rtl="0" eaLnBrk="1" fontAlgn="base" hangingPunct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29640" algn="ctr" defTabSz="464820" rtl="0" eaLnBrk="1" fontAlgn="base" hangingPunct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94460" algn="ctr" defTabSz="464820" rtl="0" eaLnBrk="1" fontAlgn="base" hangingPunct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59280" algn="ctr" defTabSz="464820" rtl="0" eaLnBrk="1" fontAlgn="base" hangingPunct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8615" indent="-348615" algn="l" defTabSz="464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8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1pPr>
      <a:lvl2pPr marL="753745" indent="-289560" algn="l" defTabSz="464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7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60780" indent="-231140" algn="l" defTabSz="464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6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26235" indent="-231140" algn="l" defTabSz="464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95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90420" indent="-231140" algn="l" defTabSz="4641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5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57145" indent="-232410" algn="l" defTabSz="464820" rtl="0" eaLnBrk="1" latinLnBrk="0" hangingPunct="1">
        <a:spcBef>
          <a:spcPct val="20000"/>
        </a:spcBef>
        <a:buFont typeface="Arial" panose="020B0604020202020204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6pPr>
      <a:lvl7pPr marL="3021965" indent="-232410" algn="l" defTabSz="464820" rtl="0" eaLnBrk="1" latinLnBrk="0" hangingPunct="1">
        <a:spcBef>
          <a:spcPct val="20000"/>
        </a:spcBef>
        <a:buFont typeface="Arial" panose="020B0604020202020204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7pPr>
      <a:lvl8pPr marL="3486785" indent="-232410" algn="l" defTabSz="464820" rtl="0" eaLnBrk="1" latinLnBrk="0" hangingPunct="1">
        <a:spcBef>
          <a:spcPct val="20000"/>
        </a:spcBef>
        <a:buFont typeface="Arial" panose="020B0604020202020204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8pPr>
      <a:lvl9pPr marL="3951605" indent="-232410" algn="l" defTabSz="464820" rtl="0" eaLnBrk="1" latinLnBrk="0" hangingPunct="1">
        <a:spcBef>
          <a:spcPct val="20000"/>
        </a:spcBef>
        <a:buFont typeface="Arial" panose="020B0604020202020204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1pPr>
      <a:lvl2pPr marL="464820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2pPr>
      <a:lvl3pPr marL="929640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3pPr>
      <a:lvl4pPr marL="1394460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4pPr>
      <a:lvl5pPr marL="1859280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5pPr>
      <a:lvl6pPr marL="2324735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6pPr>
      <a:lvl7pPr marL="2789555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7pPr>
      <a:lvl8pPr marL="3254375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8pPr>
      <a:lvl9pPr marL="3719195" algn="l" defTabSz="464820" rtl="0" eaLnBrk="1" latinLnBrk="0" hangingPunct="1">
        <a:defRPr sz="18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2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685800"/>
            <a:ext cx="10515600" cy="5937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48593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29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Edit Master text styles</a:t>
            </a:r>
          </a:p>
          <a:p>
            <a:pPr lvl="0"/>
            <a:r>
              <a:rPr lang="en-US" altLang="en-US"/>
              <a:t>Edit Master text styles</a:t>
            </a:r>
          </a:p>
          <a:p>
            <a:pPr lvl="0"/>
            <a:r>
              <a:rPr lang="en-US" altLang="en-US"/>
              <a:t>Edit Master text styles</a:t>
            </a:r>
          </a:p>
          <a:p>
            <a:pPr lvl="0"/>
            <a:r>
              <a:rPr lang="en-US" altLang="en-US"/>
              <a:t>Edit Master text styles</a:t>
            </a:r>
          </a:p>
          <a:p>
            <a:pPr lvl="0"/>
            <a:endParaRPr lang="en-US" altLang="en-US"/>
          </a:p>
          <a:p>
            <a:pPr lvl="0"/>
            <a:endParaRPr lang="en-US" altLang="en-US"/>
          </a:p>
        </p:txBody>
      </p:sp>
      <p:sp>
        <p:nvSpPr>
          <p:cNvPr id="104859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-10-2025</a:t>
            </a:r>
          </a:p>
        </p:txBody>
      </p:sp>
      <p:sp>
        <p:nvSpPr>
          <p:cNvPr id="104859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-1 performance Report | FSAS&amp;S Section</a:t>
            </a:r>
          </a:p>
        </p:txBody>
      </p:sp>
      <p:sp>
        <p:nvSpPr>
          <p:cNvPr id="104859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fld id="{E2EE7109-98ED-4C5A-AFFA-B5267EE52E3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7155" name="Picture 12"/>
          <p:cNvPicPr>
            <a:picLocks noChangeAspect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10464800" y="104775"/>
            <a:ext cx="1524000" cy="3429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756" r:id="rId28"/>
    <p:sldLayoutId id="2147483757" r:id="rId29"/>
    <p:sldLayoutId id="2147483758" r:id="rId30"/>
    <p:sldLayoutId id="2147483759" r:id="rId31"/>
    <p:sldLayoutId id="2147483760" r:id="rId32"/>
    <p:sldLayoutId id="2147483761" r:id="rId33"/>
    <p:sldLayoutId id="2147483762" r:id="rId34"/>
    <p:sldLayoutId id="2147483763" r:id="rId35"/>
    <p:sldLayoutId id="2147483764" r:id="rId36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charset="0"/>
          <a:ea typeface="MS PGothic" panose="020B060007020508020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MS PGothic" panose="020B0600070205080204" charset="-128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03-10-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Q-1 performance Report | FSAS&amp;S Se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41FFF36-3ABE-8747-9EF0-11782DA91C75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03-10-202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Q-1 performance Report | FSAS&amp;S Sec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9A24AC-B248-4077-817C-623A92936FF6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</p:sldLayoutIdLst>
  <p:hf hdr="0"/>
  <p:txStyles>
    <p:titleStyle>
      <a:lvl1pPr algn="l" defTabSz="891540" rtl="0" eaLnBrk="1" latinLnBrk="0" hangingPunct="1">
        <a:lnSpc>
          <a:spcPct val="90000"/>
        </a:lnSpc>
        <a:spcBef>
          <a:spcPct val="0"/>
        </a:spcBef>
        <a:buNone/>
        <a:defRPr sz="429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2885" indent="-222885" algn="l" defTabSz="891540" rtl="0" eaLnBrk="1" latinLnBrk="0" hangingPunct="1">
        <a:lnSpc>
          <a:spcPct val="90000"/>
        </a:lnSpc>
        <a:spcBef>
          <a:spcPts val="975"/>
        </a:spcBef>
        <a:buFont typeface="Arial" panose="020B0604020202020204" pitchFamily="34" charset="0"/>
        <a:buChar char="•"/>
        <a:defRPr sz="2730" kern="1200">
          <a:solidFill>
            <a:schemeClr val="tx1"/>
          </a:solidFill>
          <a:latin typeface="+mn-lt"/>
          <a:ea typeface="+mn-ea"/>
          <a:cs typeface="+mn-cs"/>
        </a:defRPr>
      </a:lvl1pPr>
      <a:lvl2pPr marL="66865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1442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6019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200596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45173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89750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789045" indent="-222885" algn="l" defTabSz="891540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7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31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8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85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9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algn="l" defTabSz="89154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3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7.xml"/><Relationship Id="rId1" Type="http://schemas.openxmlformats.org/officeDocument/2006/relationships/tags" Target="../tags/tag12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3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165.xml"/><Relationship Id="rId2" Type="http://schemas.openxmlformats.org/officeDocument/2006/relationships/tags" Target="../tags/tag14.xml"/><Relationship Id="rId16" Type="http://schemas.openxmlformats.org/officeDocument/2006/relationships/chart" Target="../charts/chart2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chart" Target="../charts/chart1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13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5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1.xml"/><Relationship Id="rId1" Type="http://schemas.openxmlformats.org/officeDocument/2006/relationships/tags" Target="../tags/tag30.xml"/><Relationship Id="rId5" Type="http://schemas.openxmlformats.org/officeDocument/2006/relationships/chart" Target="../charts/chart3.xml"/><Relationship Id="rId4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3886" y="0"/>
            <a:ext cx="1188422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" name="Content Placeholder 9" descr="A blue and green background with a green line&#10;&#10;AI-generated content may be incorrect."/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1" b="-1"/>
          <a:stretch>
            <a:fillRect/>
          </a:stretch>
        </p:blipFill>
        <p:spPr>
          <a:xfrm>
            <a:off x="152420" y="1282"/>
            <a:ext cx="11887180" cy="685671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841500" y="1673860"/>
            <a:ext cx="8906510" cy="2879725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 defTabSz="457200" fontAlgn="base">
              <a:lnSpc>
                <a:spcPct val="150000"/>
              </a:lnSpc>
            </a:pPr>
            <a:r>
              <a:rPr lang="en-US" sz="2400" b="1" cap="all" dirty="0">
                <a:solidFill>
                  <a:schemeClr val="accent4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  <a:sym typeface="+mn-ea"/>
              </a:rPr>
              <a:t>FiXed SERVICES ADVANCED SUPPORT AND SOLUTION Section </a:t>
            </a:r>
            <a:br>
              <a:rPr lang="en-US" sz="2400" b="1" cap="all" dirty="0">
                <a:solidFill>
                  <a:schemeClr val="accent4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  <a:sym typeface="+mn-ea"/>
              </a:rPr>
            </a:br>
            <a:r>
              <a:rPr lang="en-US" sz="2400" b="1" cap="all" dirty="0">
                <a:solidFill>
                  <a:schemeClr val="accent4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  <a:sym typeface="+mn-ea"/>
              </a:rPr>
              <a:t>weekly  performance report  </a:t>
            </a:r>
            <a:br>
              <a:rPr lang="en-US" sz="2400" b="1" cap="all" dirty="0">
                <a:solidFill>
                  <a:schemeClr val="accent4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  <a:sym typeface="+mn-ea"/>
              </a:rPr>
            </a:br>
            <a:r>
              <a:rPr lang="en-US" sz="2400" b="1" cap="all" dirty="0">
                <a:solidFill>
                  <a:schemeClr val="accent4"/>
                </a:solidFill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  <a:sym typeface="+mn-ea"/>
              </a:rPr>
              <a:t>(week 43)</a:t>
            </a:r>
            <a:endParaRPr lang="en-US" sz="2400" b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1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74065" y="6426200"/>
            <a:ext cx="89408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0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green background with words&#10;&#10;AI-generated content may be incorrect.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0"/>
            <a:ext cx="118872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 txBox="1"/>
          <p:nvPr/>
        </p:nvSpPr>
        <p:spPr>
          <a:xfrm>
            <a:off x="4215740" y="224300"/>
            <a:ext cx="4346369" cy="69917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CONTEN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468469" y="1158406"/>
            <a:ext cx="4463980" cy="1242173"/>
            <a:chOff x="274664" y="1289011"/>
            <a:chExt cx="4211504" cy="1242173"/>
          </a:xfrm>
        </p:grpSpPr>
        <p:grpSp>
          <p:nvGrpSpPr>
            <p:cNvPr id="11" name="Group 10"/>
            <p:cNvGrpSpPr/>
            <p:nvPr/>
          </p:nvGrpSpPr>
          <p:grpSpPr>
            <a:xfrm>
              <a:off x="274664" y="1289011"/>
              <a:ext cx="1242174" cy="1242173"/>
              <a:chOff x="717972" y="2047076"/>
              <a:chExt cx="1656232" cy="1656231"/>
            </a:xfrm>
          </p:grpSpPr>
          <p:sp>
            <p:nvSpPr>
              <p:cNvPr id="16" name="Circle"/>
              <p:cNvSpPr/>
              <p:nvPr/>
            </p:nvSpPr>
            <p:spPr>
              <a:xfrm>
                <a:off x="717972" y="2047076"/>
                <a:ext cx="1656232" cy="1656231"/>
              </a:xfrm>
              <a:prstGeom prst="ellipse">
                <a:avLst/>
              </a:prstGeom>
              <a:solidFill>
                <a:srgbClr val="063951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Shape"/>
              <p:cNvSpPr/>
              <p:nvPr/>
            </p:nvSpPr>
            <p:spPr>
              <a:xfrm>
                <a:off x="821879" y="2150983"/>
                <a:ext cx="1448418" cy="1448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37" y="0"/>
                      <a:pt x="0" y="4837"/>
                      <a:pt x="0" y="10800"/>
                    </a:cubicBezTo>
                    <a:cubicBezTo>
                      <a:pt x="0" y="15496"/>
                      <a:pt x="3029" y="19510"/>
                      <a:pt x="7231" y="20990"/>
                    </a:cubicBezTo>
                    <a:cubicBezTo>
                      <a:pt x="7513" y="21083"/>
                      <a:pt x="7818" y="21177"/>
                      <a:pt x="8123" y="21271"/>
                    </a:cubicBezTo>
                    <a:cubicBezTo>
                      <a:pt x="8992" y="21483"/>
                      <a:pt x="9884" y="21600"/>
                      <a:pt x="10800" y="21600"/>
                    </a:cubicBezTo>
                    <a:cubicBezTo>
                      <a:pt x="16763" y="21600"/>
                      <a:pt x="21600" y="16763"/>
                      <a:pt x="21600" y="10800"/>
                    </a:cubicBezTo>
                    <a:cubicBezTo>
                      <a:pt x="21600" y="4837"/>
                      <a:pt x="16763" y="0"/>
                      <a:pt x="10800" y="0"/>
                    </a:cubicBezTo>
                    <a:close/>
                    <a:moveTo>
                      <a:pt x="10800" y="20637"/>
                    </a:moveTo>
                    <a:cubicBezTo>
                      <a:pt x="9955" y="20637"/>
                      <a:pt x="9133" y="20520"/>
                      <a:pt x="8358" y="20332"/>
                    </a:cubicBezTo>
                    <a:lnTo>
                      <a:pt x="8358" y="7677"/>
                    </a:lnTo>
                    <a:lnTo>
                      <a:pt x="7490" y="7677"/>
                    </a:lnTo>
                    <a:lnTo>
                      <a:pt x="4156" y="9227"/>
                    </a:lnTo>
                    <a:lnTo>
                      <a:pt x="4414" y="10190"/>
                    </a:lnTo>
                    <a:lnTo>
                      <a:pt x="7231" y="8969"/>
                    </a:lnTo>
                    <a:lnTo>
                      <a:pt x="7231" y="19980"/>
                    </a:lnTo>
                    <a:cubicBezTo>
                      <a:pt x="3545" y="18548"/>
                      <a:pt x="939" y="14979"/>
                      <a:pt x="939" y="10800"/>
                    </a:cubicBezTo>
                    <a:cubicBezTo>
                      <a:pt x="939" y="5353"/>
                      <a:pt x="5353" y="939"/>
                      <a:pt x="10800" y="939"/>
                    </a:cubicBezTo>
                    <a:cubicBezTo>
                      <a:pt x="16247" y="939"/>
                      <a:pt x="20661" y="5353"/>
                      <a:pt x="20661" y="10800"/>
                    </a:cubicBezTo>
                    <a:cubicBezTo>
                      <a:pt x="20661" y="16247"/>
                      <a:pt x="16247" y="20637"/>
                      <a:pt x="10800" y="20637"/>
                    </a:cubicBezTo>
                    <a:close/>
                  </a:path>
                </a:pathLst>
              </a:custGeom>
              <a:solidFill>
                <a:srgbClr val="FFCC4C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1688286" y="1679264"/>
              <a:ext cx="2797882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IVE SUMMARY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468468" y="4984750"/>
            <a:ext cx="6816888" cy="1275033"/>
            <a:chOff x="274664" y="4753840"/>
            <a:chExt cx="6816888" cy="1275033"/>
          </a:xfrm>
        </p:grpSpPr>
        <p:grpSp>
          <p:nvGrpSpPr>
            <p:cNvPr id="19" name="Group 18"/>
            <p:cNvGrpSpPr/>
            <p:nvPr/>
          </p:nvGrpSpPr>
          <p:grpSpPr>
            <a:xfrm>
              <a:off x="274664" y="4786700"/>
              <a:ext cx="1242173" cy="1242173"/>
              <a:chOff x="4339009" y="2047076"/>
              <a:chExt cx="1656231" cy="1656231"/>
            </a:xfrm>
          </p:grpSpPr>
          <p:sp>
            <p:nvSpPr>
              <p:cNvPr id="23" name="Circle"/>
              <p:cNvSpPr/>
              <p:nvPr/>
            </p:nvSpPr>
            <p:spPr>
              <a:xfrm>
                <a:off x="4339009" y="2047076"/>
                <a:ext cx="1656231" cy="1656231"/>
              </a:xfrm>
              <a:prstGeom prst="ellipse">
                <a:avLst/>
              </a:prstGeom>
              <a:solidFill>
                <a:srgbClr val="063951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4442916" y="2150983"/>
                <a:ext cx="1448417" cy="1448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37" y="0"/>
                      <a:pt x="0" y="4837"/>
                      <a:pt x="0" y="10800"/>
                    </a:cubicBezTo>
                    <a:cubicBezTo>
                      <a:pt x="0" y="16763"/>
                      <a:pt x="4837" y="21600"/>
                      <a:pt x="10800" y="21600"/>
                    </a:cubicBezTo>
                    <a:cubicBezTo>
                      <a:pt x="11575" y="21600"/>
                      <a:pt x="12350" y="21506"/>
                      <a:pt x="13077" y="21365"/>
                    </a:cubicBezTo>
                    <a:cubicBezTo>
                      <a:pt x="14697" y="21013"/>
                      <a:pt x="16177" y="20309"/>
                      <a:pt x="17444" y="19299"/>
                    </a:cubicBezTo>
                    <a:cubicBezTo>
                      <a:pt x="19957" y="17327"/>
                      <a:pt x="21600" y="14251"/>
                      <a:pt x="21600" y="10800"/>
                    </a:cubicBezTo>
                    <a:cubicBezTo>
                      <a:pt x="21600" y="4837"/>
                      <a:pt x="16763" y="0"/>
                      <a:pt x="10800" y="0"/>
                    </a:cubicBezTo>
                    <a:close/>
                    <a:moveTo>
                      <a:pt x="17843" y="17679"/>
                    </a:moveTo>
                    <a:cubicBezTo>
                      <a:pt x="17843" y="17632"/>
                      <a:pt x="17843" y="17585"/>
                      <a:pt x="17843" y="17538"/>
                    </a:cubicBezTo>
                    <a:cubicBezTo>
                      <a:pt x="17843" y="16717"/>
                      <a:pt x="17585" y="16012"/>
                      <a:pt x="17069" y="15449"/>
                    </a:cubicBezTo>
                    <a:cubicBezTo>
                      <a:pt x="16552" y="14862"/>
                      <a:pt x="15918" y="14463"/>
                      <a:pt x="15120" y="14251"/>
                    </a:cubicBezTo>
                    <a:cubicBezTo>
                      <a:pt x="15754" y="14017"/>
                      <a:pt x="16270" y="13641"/>
                      <a:pt x="16717" y="13077"/>
                    </a:cubicBezTo>
                    <a:cubicBezTo>
                      <a:pt x="17139" y="12537"/>
                      <a:pt x="17350" y="11833"/>
                      <a:pt x="17350" y="10988"/>
                    </a:cubicBezTo>
                    <a:cubicBezTo>
                      <a:pt x="17350" y="10471"/>
                      <a:pt x="17257" y="10002"/>
                      <a:pt x="17069" y="9579"/>
                    </a:cubicBezTo>
                    <a:cubicBezTo>
                      <a:pt x="16881" y="9157"/>
                      <a:pt x="16599" y="8781"/>
                      <a:pt x="16247" y="8476"/>
                    </a:cubicBezTo>
                    <a:cubicBezTo>
                      <a:pt x="15895" y="8170"/>
                      <a:pt x="15472" y="7912"/>
                      <a:pt x="15003" y="7724"/>
                    </a:cubicBezTo>
                    <a:cubicBezTo>
                      <a:pt x="14510" y="7537"/>
                      <a:pt x="13970" y="7466"/>
                      <a:pt x="13383" y="7466"/>
                    </a:cubicBezTo>
                    <a:cubicBezTo>
                      <a:pt x="12796" y="7466"/>
                      <a:pt x="12209" y="7537"/>
                      <a:pt x="11645" y="7677"/>
                    </a:cubicBezTo>
                    <a:cubicBezTo>
                      <a:pt x="11082" y="7818"/>
                      <a:pt x="10518" y="8077"/>
                      <a:pt x="9978" y="8429"/>
                    </a:cubicBezTo>
                    <a:lnTo>
                      <a:pt x="10354" y="9274"/>
                    </a:lnTo>
                    <a:cubicBezTo>
                      <a:pt x="10917" y="8945"/>
                      <a:pt x="11434" y="8710"/>
                      <a:pt x="11880" y="8570"/>
                    </a:cubicBezTo>
                    <a:cubicBezTo>
                      <a:pt x="12326" y="8452"/>
                      <a:pt x="12796" y="8382"/>
                      <a:pt x="13312" y="8382"/>
                    </a:cubicBezTo>
                    <a:cubicBezTo>
                      <a:pt x="14228" y="8382"/>
                      <a:pt x="14932" y="8640"/>
                      <a:pt x="15449" y="9133"/>
                    </a:cubicBezTo>
                    <a:cubicBezTo>
                      <a:pt x="15965" y="9626"/>
                      <a:pt x="16223" y="10260"/>
                      <a:pt x="16223" y="11058"/>
                    </a:cubicBezTo>
                    <a:cubicBezTo>
                      <a:pt x="16223" y="11528"/>
                      <a:pt x="16130" y="11927"/>
                      <a:pt x="15942" y="12279"/>
                    </a:cubicBezTo>
                    <a:cubicBezTo>
                      <a:pt x="15754" y="12631"/>
                      <a:pt x="15496" y="12913"/>
                      <a:pt x="15167" y="13171"/>
                    </a:cubicBezTo>
                    <a:cubicBezTo>
                      <a:pt x="14838" y="13430"/>
                      <a:pt x="14463" y="13594"/>
                      <a:pt x="14040" y="13735"/>
                    </a:cubicBezTo>
                    <a:cubicBezTo>
                      <a:pt x="13617" y="13852"/>
                      <a:pt x="13171" y="13923"/>
                      <a:pt x="12678" y="13923"/>
                    </a:cubicBezTo>
                    <a:lnTo>
                      <a:pt x="11410" y="13923"/>
                    </a:lnTo>
                    <a:lnTo>
                      <a:pt x="11410" y="14838"/>
                    </a:lnTo>
                    <a:lnTo>
                      <a:pt x="13101" y="14838"/>
                    </a:lnTo>
                    <a:cubicBezTo>
                      <a:pt x="14134" y="14838"/>
                      <a:pt x="14979" y="15073"/>
                      <a:pt x="15637" y="15566"/>
                    </a:cubicBezTo>
                    <a:cubicBezTo>
                      <a:pt x="16294" y="16036"/>
                      <a:pt x="16623" y="16717"/>
                      <a:pt x="16623" y="17562"/>
                    </a:cubicBezTo>
                    <a:cubicBezTo>
                      <a:pt x="16623" y="18055"/>
                      <a:pt x="16529" y="18571"/>
                      <a:pt x="16200" y="18947"/>
                    </a:cubicBezTo>
                    <a:cubicBezTo>
                      <a:pt x="15848" y="19323"/>
                      <a:pt x="15308" y="19557"/>
                      <a:pt x="14862" y="19769"/>
                    </a:cubicBezTo>
                    <a:cubicBezTo>
                      <a:pt x="14369" y="19980"/>
                      <a:pt x="13876" y="20168"/>
                      <a:pt x="13359" y="20309"/>
                    </a:cubicBezTo>
                    <a:cubicBezTo>
                      <a:pt x="13242" y="20332"/>
                      <a:pt x="13101" y="20379"/>
                      <a:pt x="12983" y="20403"/>
                    </a:cubicBezTo>
                    <a:cubicBezTo>
                      <a:pt x="12256" y="20567"/>
                      <a:pt x="11528" y="20661"/>
                      <a:pt x="10753" y="20661"/>
                    </a:cubicBezTo>
                    <a:cubicBezTo>
                      <a:pt x="10401" y="20661"/>
                      <a:pt x="10049" y="20637"/>
                      <a:pt x="9720" y="20614"/>
                    </a:cubicBezTo>
                    <a:cubicBezTo>
                      <a:pt x="4766" y="20097"/>
                      <a:pt x="892" y="15895"/>
                      <a:pt x="892" y="10800"/>
                    </a:cubicBezTo>
                    <a:cubicBezTo>
                      <a:pt x="892" y="5353"/>
                      <a:pt x="5306" y="939"/>
                      <a:pt x="10753" y="939"/>
                    </a:cubicBezTo>
                    <a:cubicBezTo>
                      <a:pt x="16200" y="939"/>
                      <a:pt x="20614" y="5353"/>
                      <a:pt x="20614" y="10800"/>
                    </a:cubicBezTo>
                    <a:cubicBezTo>
                      <a:pt x="20661" y="13477"/>
                      <a:pt x="19581" y="15895"/>
                      <a:pt x="17843" y="17679"/>
                    </a:cubicBezTo>
                    <a:close/>
                  </a:path>
                </a:pathLst>
              </a:custGeom>
              <a:solidFill>
                <a:srgbClr val="C13018">
                  <a:lumMod val="60000"/>
                  <a:lumOff val="40000"/>
                </a:srgbClr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/>
            <p:cNvSpPr txBox="1"/>
            <p:nvPr/>
          </p:nvSpPr>
          <p:spPr>
            <a:xfrm>
              <a:off x="1688286" y="4753840"/>
              <a:ext cx="5403266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VISIONING AND ADVANCED SUPPORT DETAIL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468468" y="2807938"/>
            <a:ext cx="7307541" cy="1242173"/>
            <a:chOff x="274664" y="2846671"/>
            <a:chExt cx="7307541" cy="1242173"/>
          </a:xfrm>
        </p:grpSpPr>
        <p:grpSp>
          <p:nvGrpSpPr>
            <p:cNvPr id="33" name="Group 32"/>
            <p:cNvGrpSpPr/>
            <p:nvPr/>
          </p:nvGrpSpPr>
          <p:grpSpPr>
            <a:xfrm>
              <a:off x="274664" y="2846671"/>
              <a:ext cx="1242173" cy="1242173"/>
              <a:chOff x="2544234" y="2047076"/>
              <a:chExt cx="1656231" cy="1656231"/>
            </a:xfrm>
          </p:grpSpPr>
          <p:sp>
            <p:nvSpPr>
              <p:cNvPr id="37" name="Circle"/>
              <p:cNvSpPr/>
              <p:nvPr/>
            </p:nvSpPr>
            <p:spPr>
              <a:xfrm>
                <a:off x="2544234" y="2047076"/>
                <a:ext cx="1656231" cy="1656231"/>
              </a:xfrm>
              <a:prstGeom prst="ellipse">
                <a:avLst/>
              </a:prstGeom>
              <a:solidFill>
                <a:srgbClr val="063951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Shape"/>
              <p:cNvSpPr/>
              <p:nvPr/>
            </p:nvSpPr>
            <p:spPr>
              <a:xfrm>
                <a:off x="2648141" y="2150983"/>
                <a:ext cx="1448417" cy="1448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9368" y="0"/>
                      <a:pt x="8006" y="282"/>
                      <a:pt x="6738" y="798"/>
                    </a:cubicBezTo>
                    <a:cubicBezTo>
                      <a:pt x="5823" y="1174"/>
                      <a:pt x="5001" y="1643"/>
                      <a:pt x="4226" y="2230"/>
                    </a:cubicBezTo>
                    <a:cubicBezTo>
                      <a:pt x="1643" y="4203"/>
                      <a:pt x="0" y="7302"/>
                      <a:pt x="0" y="10800"/>
                    </a:cubicBezTo>
                    <a:cubicBezTo>
                      <a:pt x="0" y="16763"/>
                      <a:pt x="4837" y="21600"/>
                      <a:pt x="10800" y="21600"/>
                    </a:cubicBezTo>
                    <a:cubicBezTo>
                      <a:pt x="16763" y="21600"/>
                      <a:pt x="21600" y="16763"/>
                      <a:pt x="21600" y="10800"/>
                    </a:cubicBezTo>
                    <a:cubicBezTo>
                      <a:pt x="21600" y="4837"/>
                      <a:pt x="16740" y="0"/>
                      <a:pt x="10800" y="0"/>
                    </a:cubicBezTo>
                    <a:close/>
                    <a:moveTo>
                      <a:pt x="10025" y="20614"/>
                    </a:moveTo>
                    <a:cubicBezTo>
                      <a:pt x="5259" y="20262"/>
                      <a:pt x="1409" y="16458"/>
                      <a:pt x="963" y="11716"/>
                    </a:cubicBezTo>
                    <a:cubicBezTo>
                      <a:pt x="563" y="7443"/>
                      <a:pt x="2911" y="3663"/>
                      <a:pt x="6457" y="1925"/>
                    </a:cubicBezTo>
                    <a:cubicBezTo>
                      <a:pt x="6856" y="1737"/>
                      <a:pt x="7302" y="1620"/>
                      <a:pt x="7748" y="1620"/>
                    </a:cubicBezTo>
                    <a:cubicBezTo>
                      <a:pt x="7748" y="1620"/>
                      <a:pt x="7748" y="1620"/>
                      <a:pt x="7748" y="1620"/>
                    </a:cubicBezTo>
                    <a:cubicBezTo>
                      <a:pt x="8663" y="1620"/>
                      <a:pt x="9368" y="1878"/>
                      <a:pt x="9837" y="2418"/>
                    </a:cubicBezTo>
                    <a:cubicBezTo>
                      <a:pt x="10307" y="2958"/>
                      <a:pt x="10542" y="3686"/>
                      <a:pt x="10542" y="4602"/>
                    </a:cubicBezTo>
                    <a:cubicBezTo>
                      <a:pt x="10542" y="5118"/>
                      <a:pt x="10448" y="5611"/>
                      <a:pt x="10260" y="6128"/>
                    </a:cubicBezTo>
                    <a:cubicBezTo>
                      <a:pt x="10072" y="6644"/>
                      <a:pt x="9790" y="7184"/>
                      <a:pt x="9391" y="7771"/>
                    </a:cubicBezTo>
                    <a:cubicBezTo>
                      <a:pt x="9016" y="8358"/>
                      <a:pt x="8499" y="8969"/>
                      <a:pt x="7889" y="9626"/>
                    </a:cubicBezTo>
                    <a:cubicBezTo>
                      <a:pt x="7278" y="10283"/>
                      <a:pt x="6550" y="11035"/>
                      <a:pt x="5729" y="11857"/>
                    </a:cubicBezTo>
                    <a:lnTo>
                      <a:pt x="3897" y="13641"/>
                    </a:lnTo>
                    <a:lnTo>
                      <a:pt x="4085" y="14416"/>
                    </a:lnTo>
                    <a:lnTo>
                      <a:pt x="12279" y="14416"/>
                    </a:lnTo>
                    <a:lnTo>
                      <a:pt x="12279" y="13477"/>
                    </a:lnTo>
                    <a:lnTo>
                      <a:pt x="5517" y="13477"/>
                    </a:lnTo>
                    <a:lnTo>
                      <a:pt x="7419" y="11645"/>
                    </a:lnTo>
                    <a:cubicBezTo>
                      <a:pt x="8170" y="10917"/>
                      <a:pt x="8828" y="10237"/>
                      <a:pt x="9368" y="9603"/>
                    </a:cubicBezTo>
                    <a:cubicBezTo>
                      <a:pt x="9908" y="8969"/>
                      <a:pt x="10354" y="8358"/>
                      <a:pt x="10706" y="7795"/>
                    </a:cubicBezTo>
                    <a:cubicBezTo>
                      <a:pt x="11058" y="7231"/>
                      <a:pt x="11317" y="6668"/>
                      <a:pt x="11481" y="6151"/>
                    </a:cubicBezTo>
                    <a:cubicBezTo>
                      <a:pt x="11645" y="5635"/>
                      <a:pt x="11739" y="5095"/>
                      <a:pt x="11739" y="4578"/>
                    </a:cubicBezTo>
                    <a:cubicBezTo>
                      <a:pt x="11739" y="4015"/>
                      <a:pt x="11645" y="3498"/>
                      <a:pt x="11481" y="3029"/>
                    </a:cubicBezTo>
                    <a:cubicBezTo>
                      <a:pt x="11317" y="2559"/>
                      <a:pt x="11058" y="2137"/>
                      <a:pt x="10730" y="1808"/>
                    </a:cubicBezTo>
                    <a:cubicBezTo>
                      <a:pt x="10401" y="1479"/>
                      <a:pt x="10002" y="1221"/>
                      <a:pt x="9532" y="1033"/>
                    </a:cubicBezTo>
                    <a:cubicBezTo>
                      <a:pt x="9931" y="986"/>
                      <a:pt x="10354" y="963"/>
                      <a:pt x="10753" y="963"/>
                    </a:cubicBezTo>
                    <a:cubicBezTo>
                      <a:pt x="16200" y="963"/>
                      <a:pt x="20614" y="5377"/>
                      <a:pt x="20614" y="10823"/>
                    </a:cubicBezTo>
                    <a:cubicBezTo>
                      <a:pt x="20661" y="16482"/>
                      <a:pt x="15801" y="21060"/>
                      <a:pt x="10025" y="20614"/>
                    </a:cubicBezTo>
                    <a:close/>
                  </a:path>
                </a:pathLst>
              </a:custGeom>
              <a:solidFill>
                <a:srgbClr val="F7931F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3000">
                    <a:solidFill>
                      <a:srgbClr val="FFFFFF"/>
                    </a:solidFill>
                  </a:defRPr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688286" y="3001404"/>
              <a:ext cx="5893919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VISIONING AND ADVANCED SUPPORT SUMMARY</a:t>
              </a: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53296" y="2673365"/>
            <a:ext cx="104403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800" b="1" i="0" u="none" strike="noStrike" kern="1200" cap="all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/>
                <a:ea typeface="MS PGothic" panose="020B0600070205080204" charset="-128"/>
              </a:rPr>
              <a:t>EXECUTIVE SUMMARY</a:t>
            </a:r>
            <a:endParaRPr lang="en-US" sz="3200" dirty="0">
              <a:solidFill>
                <a:srgbClr val="FFC000"/>
              </a:solidFill>
            </a:endParaRPr>
          </a:p>
        </p:txBody>
      </p:sp>
      <p:sp>
        <p:nvSpPr>
          <p:cNvPr id="56" name="Date Placeholder 55"/>
          <p:cNvSpPr>
            <a:spLocks noGrp="1"/>
          </p:cNvSpPr>
          <p:nvPr>
            <p:ph type="dt" sz="half" idx="10"/>
          </p:nvPr>
        </p:nvSpPr>
        <p:spPr>
          <a:xfrm>
            <a:off x="701675" y="6137275"/>
            <a:ext cx="89408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rcRect b="19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18" name="Title 1"/>
          <p:cNvSpPr txBox="1"/>
          <p:nvPr/>
        </p:nvSpPr>
        <p:spPr bwMode="auto">
          <a:xfrm>
            <a:off x="2448350" y="293215"/>
            <a:ext cx="7132572" cy="810604"/>
          </a:xfrm>
          <a:prstGeom prst="rect">
            <a:avLst/>
          </a:prstGeom>
          <a:noFill/>
          <a:ln>
            <a:noFill/>
          </a:ln>
        </p:spPr>
        <p:txBody>
          <a:bodyPr lIns="79106" tIns="39552" rIns="79106" bIns="39552" anchor="ctr">
            <a:noAutofit/>
          </a:bodyPr>
          <a:lstStyle>
            <a:lvl1pPr algn="l" defTabSz="554355" rtl="0" eaLnBrk="1" fontAlgn="base" hangingPunct="1">
              <a:spcBef>
                <a:spcPct val="0"/>
              </a:spcBef>
              <a:spcAft>
                <a:spcPct val="0"/>
              </a:spcAft>
              <a:defRPr sz="2500" b="1" i="0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Arial" panose="020B0604020202020204"/>
              </a:defRPr>
            </a:lvl1pPr>
            <a:lvl2pPr algn="ctr" defTabSz="55435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55435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55435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55435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555625" algn="ctr" defTabSz="55562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1111250" algn="ctr" defTabSz="55562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666240" algn="ctr" defTabSz="55562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2221865" algn="ctr" defTabSz="555625" rtl="0" eaLnBrk="1" fontAlgn="base" hangingPunct="1">
              <a:spcBef>
                <a:spcPct val="0"/>
              </a:spcBef>
              <a:spcAft>
                <a:spcPct val="0"/>
              </a:spcAft>
              <a:defRPr sz="540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0" marR="0" lvl="0" indent="0" algn="ctr" defTabSz="5543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400" cap="none" dirty="0">
                <a:solidFill>
                  <a:prstClr val="white"/>
                </a:solidFill>
                <a:latin typeface="Arial" panose="020B0604020202020204" pitchFamily="34" charset="0"/>
                <a:cs typeface="Times New Roman" panose="02020603050405020304" charset="0"/>
              </a:rPr>
              <a:t>EXECUTIVE SUMMAR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charset="-128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9745" y="1369132"/>
            <a:ext cx="11029950" cy="950595"/>
          </a:xfrm>
          <a:prstGeom prst="rect">
            <a:avLst/>
          </a:prstGeom>
          <a:solidFill>
            <a:srgbClr val="002060">
              <a:alpha val="57000"/>
            </a:srgbClr>
          </a:solidFill>
        </p:spPr>
        <p:txBody>
          <a:bodyPr wrap="square">
            <a:spAutoFit/>
          </a:bodyPr>
          <a:lstStyle/>
          <a:p>
            <a:pPr marL="298450" lvl="0" indent="-285750">
              <a:lnSpc>
                <a:spcPct val="150000"/>
              </a:lnSpc>
              <a:spcBef>
                <a:spcPts val="94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483 Provisioning (GPON Combo, Centrex, Short-code , IP PBX) completed.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8450" lvl="0" indent="-285750">
              <a:lnSpc>
                <a:spcPct val="150000"/>
              </a:lnSpc>
              <a:spcBef>
                <a:spcPts val="940"/>
              </a:spcBef>
              <a:buFont typeface="Wingdings" panose="05000000000000000000" charset="0"/>
              <a:buChar char="§"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276 Fixed Voice Advanced support manage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4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01675" y="6137275"/>
            <a:ext cx="116205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3886" y="0"/>
            <a:ext cx="1188422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" name="Content Placeholder 9" descr="A blue and green background with a green line&#10;&#10;AI-generated content may be incorrect."/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1" b="-1"/>
          <a:stretch>
            <a:fillRect/>
          </a:stretch>
        </p:blipFill>
        <p:spPr>
          <a:xfrm>
            <a:off x="152420" y="1282"/>
            <a:ext cx="11887180" cy="685671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123458" y="2732447"/>
            <a:ext cx="5943600" cy="83099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5765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C000"/>
                </a:solidFill>
                <a:latin typeface="Arial Black" panose="020B0A04020102020204" pitchFamily="34" charset="0"/>
              </a:rPr>
              <a:t>PROVISIONING AND ADVANCED SUPPORT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5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5180" y="6502400"/>
            <a:ext cx="894080" cy="21907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rcRect b="19"/>
          <a:stretch>
            <a:fillRect/>
          </a:stretch>
        </p:blipFill>
        <p:spPr>
          <a:xfrm>
            <a:off x="523249" y="0"/>
            <a:ext cx="11887181" cy="6685300"/>
          </a:xfrm>
          <a:prstGeom prst="rect">
            <a:avLst/>
          </a:prstGeom>
        </p:spPr>
      </p:pic>
      <p:sp>
        <p:nvSpPr>
          <p:cNvPr id="5" name="Title 1"/>
          <p:cNvSpPr txBox="1">
            <a:spLocks noChangeArrowheads="1"/>
          </p:cNvSpPr>
          <p:nvPr/>
        </p:nvSpPr>
        <p:spPr bwMode="auto">
          <a:xfrm>
            <a:off x="459027" y="574928"/>
            <a:ext cx="10894741" cy="509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154" tIns="44577" rIns="89154" bIns="44577" numCol="1" anchor="t" anchorCtr="0" compatLnSpc="1">
            <a:noAutofit/>
          </a:bodyPr>
          <a:lstStyle>
            <a:lvl1pPr algn="l" defTabSz="548640" rtl="0" eaLnBrk="0" fontAlgn="base" hangingPunct="0">
              <a:spcBef>
                <a:spcPct val="0"/>
              </a:spcBef>
              <a:spcAft>
                <a:spcPct val="0"/>
              </a:spcAft>
              <a:defRPr sz="2400" b="1" i="0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Arial" panose="020B0604020202020204"/>
              </a:defRPr>
            </a:lvl1pPr>
            <a:lvl2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54864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109728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64592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219456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173355" lvl="0" algn="ctr" eaLnBrk="1" fontAlgn="auto" hangingPunct="1">
              <a:spcAft>
                <a:spcPts val="0"/>
              </a:spcAft>
              <a:tabLst>
                <a:tab pos="1655445" algn="l"/>
              </a:tabLst>
              <a:defRPr/>
            </a:pPr>
            <a:r>
              <a:rPr lang="en-US" sz="1700" cap="none" dirty="0">
                <a:solidFill>
                  <a:schemeClr val="bg1"/>
                </a:solidFill>
                <a:latin typeface="Arial Black" panose="020B0A04020102020204" pitchFamily="34" charset="0"/>
              </a:rPr>
              <a:t>ADVANCED PROVISIONING AND MAINTENANCE SUPPORT PERFORMANCE  </a:t>
            </a:r>
            <a:endParaRPr lang="en-US" altLang="en-US" sz="1700" cap="none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8" name="Chart 7"/>
          <p:cNvGraphicFramePr/>
          <p:nvPr/>
        </p:nvGraphicFramePr>
        <p:xfrm>
          <a:off x="6454775" y="1125220"/>
          <a:ext cx="49847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6" name="Chart 15"/>
          <p:cNvGraphicFramePr/>
          <p:nvPr/>
        </p:nvGraphicFramePr>
        <p:xfrm>
          <a:off x="6294120" y="3909695"/>
          <a:ext cx="5422900" cy="2518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01675" y="6137275"/>
            <a:ext cx="89408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22755" y="626364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4" name="Text Placeholder 2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8891270" y="1835150"/>
            <a:ext cx="488950" cy="19748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-68%</a:t>
            </a:r>
          </a:p>
        </p:txBody>
      </p:sp>
      <p:sp>
        <p:nvSpPr>
          <p:cNvPr id="26" name="Text Placeholder 2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370445" y="1644015"/>
            <a:ext cx="615950" cy="32448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-70.1%</a:t>
            </a:r>
          </a:p>
        </p:txBody>
      </p:sp>
      <p:cxnSp>
        <p:nvCxnSpPr>
          <p:cNvPr id="31" name="Straight Connector 30"/>
          <p:cNvCxnSpPr/>
          <p:nvPr>
            <p:custDataLst>
              <p:tags r:id="rId3"/>
            </p:custDataLst>
          </p:nvPr>
        </p:nvCxnSpPr>
        <p:spPr bwMode="auto">
          <a:xfrm flipV="1">
            <a:off x="7443653" y="4690572"/>
            <a:ext cx="8890" cy="893445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4"/>
            </p:custDataLst>
          </p:nvPr>
        </p:nvCxnSpPr>
        <p:spPr bwMode="auto">
          <a:xfrm flipV="1">
            <a:off x="9128943" y="4723592"/>
            <a:ext cx="13970" cy="1066165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5"/>
            </p:custDataLst>
          </p:nvPr>
        </p:nvCxnSpPr>
        <p:spPr bwMode="auto">
          <a:xfrm>
            <a:off x="7105758" y="4707410"/>
            <a:ext cx="3587750" cy="1651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6"/>
            </p:custDataLst>
          </p:nvPr>
        </p:nvCxnSpPr>
        <p:spPr bwMode="auto">
          <a:xfrm>
            <a:off x="9017743" y="1920395"/>
            <a:ext cx="1518920" cy="762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7"/>
            </p:custDataLst>
          </p:nvPr>
        </p:nvCxnSpPr>
        <p:spPr bwMode="auto">
          <a:xfrm flipV="1">
            <a:off x="7734408" y="1787680"/>
            <a:ext cx="3173095" cy="1270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8"/>
            </p:custDataLst>
          </p:nvPr>
        </p:nvCxnSpPr>
        <p:spPr bwMode="auto">
          <a:xfrm>
            <a:off x="10477048" y="1968327"/>
            <a:ext cx="18415" cy="109728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9"/>
            </p:custDataLst>
          </p:nvPr>
        </p:nvCxnSpPr>
        <p:spPr bwMode="auto">
          <a:xfrm flipH="1">
            <a:off x="10767878" y="1787352"/>
            <a:ext cx="1270" cy="127000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 Placeholder 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891270" y="5083810"/>
            <a:ext cx="488950" cy="19748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+343%</a:t>
            </a:r>
          </a:p>
        </p:txBody>
      </p:sp>
      <p:sp>
        <p:nvSpPr>
          <p:cNvPr id="48" name="Text Placeholder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105650" y="5015230"/>
            <a:ext cx="678180" cy="26606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+141.5%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rcRect b="19"/>
          <a:stretch>
            <a:fillRect/>
          </a:stretch>
        </p:blipFill>
        <p:spPr>
          <a:xfrm>
            <a:off x="304809" y="0"/>
            <a:ext cx="11887181" cy="6685300"/>
          </a:xfrm>
          <a:prstGeom prst="rect">
            <a:avLst/>
          </a:prstGeom>
        </p:spPr>
      </p:pic>
      <p:sp>
        <p:nvSpPr>
          <p:cNvPr id="5" name="Title 1"/>
          <p:cNvSpPr txBox="1">
            <a:spLocks noChangeArrowheads="1"/>
          </p:cNvSpPr>
          <p:nvPr/>
        </p:nvSpPr>
        <p:spPr bwMode="auto">
          <a:xfrm>
            <a:off x="459027" y="574928"/>
            <a:ext cx="10894741" cy="509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154" tIns="44577" rIns="89154" bIns="44577" numCol="1" anchor="t" anchorCtr="0" compatLnSpc="1">
            <a:noAutofit/>
          </a:bodyPr>
          <a:lstStyle>
            <a:lvl1pPr algn="l" defTabSz="548640" rtl="0" eaLnBrk="0" fontAlgn="base" hangingPunct="0">
              <a:spcBef>
                <a:spcPct val="0"/>
              </a:spcBef>
              <a:spcAft>
                <a:spcPct val="0"/>
              </a:spcAft>
              <a:defRPr sz="2400" b="1" i="0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Arial" panose="020B0604020202020204"/>
              </a:defRPr>
            </a:lvl1pPr>
            <a:lvl2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54864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109728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64592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219456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173355" lvl="0" algn="ctr" eaLnBrk="1" fontAlgn="auto" hangingPunct="1">
              <a:spcAft>
                <a:spcPts val="0"/>
              </a:spcAft>
              <a:tabLst>
                <a:tab pos="1655445" algn="l"/>
              </a:tabLst>
              <a:defRPr/>
            </a:pPr>
            <a:r>
              <a:rPr lang="en-US" sz="1700" cap="none" dirty="0">
                <a:solidFill>
                  <a:schemeClr val="bg1"/>
                </a:solidFill>
                <a:latin typeface="Arial Black" panose="020B0A04020102020204" pitchFamily="34" charset="0"/>
              </a:rPr>
              <a:t>ADVANCED PROVISIONING AND MAINTENANCE SUPPORT PERFORMANCE  </a:t>
            </a:r>
            <a:endParaRPr lang="en-US" altLang="en-US" sz="1700" cap="none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7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01675" y="6137275"/>
            <a:ext cx="89408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22755" y="626364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4" name="Text Placeholder 2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2526665" y="3350895"/>
            <a:ext cx="488950" cy="19748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-68%</a:t>
            </a:r>
          </a:p>
        </p:txBody>
      </p:sp>
      <p:cxnSp>
        <p:nvCxnSpPr>
          <p:cNvPr id="31" name="Straight Connector 30"/>
          <p:cNvCxnSpPr/>
          <p:nvPr>
            <p:custDataLst>
              <p:tags r:id="rId2"/>
            </p:custDataLst>
          </p:nvPr>
        </p:nvCxnSpPr>
        <p:spPr bwMode="auto">
          <a:xfrm flipV="1">
            <a:off x="1595938" y="3797127"/>
            <a:ext cx="8890" cy="893445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3"/>
            </p:custDataLst>
          </p:nvPr>
        </p:nvCxnSpPr>
        <p:spPr bwMode="auto">
          <a:xfrm flipV="1">
            <a:off x="2860223" y="4817572"/>
            <a:ext cx="13970" cy="1066165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4"/>
            </p:custDataLst>
          </p:nvPr>
        </p:nvCxnSpPr>
        <p:spPr bwMode="auto">
          <a:xfrm>
            <a:off x="304908" y="3334540"/>
            <a:ext cx="3587750" cy="1651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5"/>
            </p:custDataLst>
          </p:nvPr>
        </p:nvCxnSpPr>
        <p:spPr bwMode="auto">
          <a:xfrm>
            <a:off x="1595863" y="2167410"/>
            <a:ext cx="1518920" cy="762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 Placeholder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848485" y="4817745"/>
            <a:ext cx="678180" cy="26606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 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charset="-128"/>
                <a:cs typeface="Arial" panose="020B0604020202020204" pitchFamily="34" charset="0"/>
              </a:rPr>
              <a:t>+141.5%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3886" y="0"/>
            <a:ext cx="11884229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" name="Content Placeholder 9" descr="A blue and green background with a green line&#10;&#10;AI-generated content may be incorrect."/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1" b="-1"/>
          <a:stretch>
            <a:fillRect/>
          </a:stretch>
        </p:blipFill>
        <p:spPr>
          <a:xfrm>
            <a:off x="152420" y="1282"/>
            <a:ext cx="11887180" cy="685671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123458" y="2732447"/>
            <a:ext cx="5943600" cy="83099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5765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C000"/>
                </a:solidFill>
                <a:latin typeface="Arial Black" panose="020B0A04020102020204" pitchFamily="34" charset="0"/>
              </a:rPr>
              <a:t>PROVISIONING AND ADVANCED SUPPORT DETAI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196FB-1FFC-B044-B32C-7439B9A83770}" type="slidenum">
              <a:rPr lang="en-US" smtClean="0"/>
              <a:t>8</a:t>
            </a:fld>
            <a:endParaRPr lang="en-US"/>
          </a:p>
        </p:txBody>
      </p:sp>
      <p:sp>
        <p:nvSpPr>
          <p:cNvPr id="56" name="Date Placeholder 55"/>
          <p:cNvSpPr>
            <a:spLocks noGrp="1"/>
          </p:cNvSpPr>
          <p:nvPr>
            <p:ph type="dt" sz="half" idx="10"/>
          </p:nvPr>
        </p:nvSpPr>
        <p:spPr>
          <a:xfrm>
            <a:off x="988060" y="6492875"/>
            <a:ext cx="1144905" cy="2286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rcRect b="19"/>
          <a:stretch>
            <a:fillRect/>
          </a:stretch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graphicFrame>
        <p:nvGraphicFramePr>
          <p:cNvPr id="6" name="Chart 5"/>
          <p:cNvGraphicFramePr/>
          <p:nvPr/>
        </p:nvGraphicFramePr>
        <p:xfrm>
          <a:off x="728345" y="1409065"/>
          <a:ext cx="5367020" cy="4167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itle 1"/>
          <p:cNvSpPr txBox="1">
            <a:spLocks noChangeArrowheads="1"/>
          </p:cNvSpPr>
          <p:nvPr/>
        </p:nvSpPr>
        <p:spPr bwMode="auto">
          <a:xfrm>
            <a:off x="2230244" y="371705"/>
            <a:ext cx="7593980" cy="527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Autofit/>
          </a:bodyPr>
          <a:lstStyle>
            <a:lvl1pPr algn="l" defTabSz="548640" rtl="0" eaLnBrk="0" fontAlgn="base" hangingPunct="0">
              <a:spcBef>
                <a:spcPct val="0"/>
              </a:spcBef>
              <a:spcAft>
                <a:spcPct val="0"/>
              </a:spcAft>
              <a:defRPr sz="2400" b="1" i="0" kern="1200" cap="all">
                <a:solidFill>
                  <a:schemeClr val="tx1"/>
                </a:solidFill>
                <a:latin typeface="Arial heading"/>
                <a:ea typeface="MS PGothic" panose="020B0600070205080204" charset="-128"/>
                <a:cs typeface="Arial" panose="020B0604020202020204"/>
              </a:defRPr>
            </a:lvl1pPr>
            <a:lvl2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2pPr>
            <a:lvl3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3pPr>
            <a:lvl4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4pPr>
            <a:lvl5pPr algn="ctr" defTabSz="548640" rtl="0" eaLnBrk="0" fontAlgn="base" hangingPunct="0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  <a:cs typeface="MS PGothic" panose="020B0600070205080204" charset="-128"/>
              </a:defRPr>
            </a:lvl5pPr>
            <a:lvl6pPr marL="54864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6pPr>
            <a:lvl7pPr marL="109728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7pPr>
            <a:lvl8pPr marL="164592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8pPr>
            <a:lvl9pPr marL="2194560" algn="ctr" defTabSz="548640" rtl="0" fontAlgn="base">
              <a:spcBef>
                <a:spcPct val="0"/>
              </a:spcBef>
              <a:spcAft>
                <a:spcPct val="0"/>
              </a:spcAft>
              <a:defRPr sz="5280">
                <a:solidFill>
                  <a:schemeClr val="tx1"/>
                </a:solidFill>
                <a:latin typeface="Calibri" panose="020F0502020204030204" charset="0"/>
                <a:ea typeface="MS PGothic" panose="020B060007020508020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MS PGothic" panose="020B0600070205080204" charset="-128"/>
                <a:cs typeface="Arial" panose="020B0604020202020204"/>
              </a:rPr>
              <a:t>PROVISIONING AND ADVANCED SUPPORT DETAI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14376" y="871751"/>
            <a:ext cx="11029950" cy="416011"/>
          </a:xfrm>
          <a:prstGeom prst="rect">
            <a:avLst/>
          </a:prstGeom>
          <a:solidFill>
            <a:srgbClr val="002060">
              <a:alpha val="57000"/>
            </a:srgb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CE PERFORMANCE – FIXED VOICE SUPPORT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FF36-3ABE-8747-9EF0-11782DA91C75}" type="slidenum">
              <a:rPr lang="en-US" smtClean="0"/>
              <a:t>9</a:t>
            </a:fld>
            <a:endParaRPr lang="en-US"/>
          </a:p>
        </p:txBody>
      </p:sp>
      <p:sp>
        <p:nvSpPr>
          <p:cNvPr id="56" name="Date Placeholder 55"/>
          <p:cNvSpPr>
            <a:spLocks noGrp="1"/>
          </p:cNvSpPr>
          <p:nvPr>
            <p:ph type="dt" sz="half" idx="10"/>
          </p:nvPr>
        </p:nvSpPr>
        <p:spPr>
          <a:xfrm>
            <a:off x="302895" y="6356350"/>
            <a:ext cx="1144905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7-10-202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299585" y="6356352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b="1">
                <a:solidFill>
                  <a:schemeClr val="bg1"/>
                </a:solidFill>
                <a:sym typeface="+mn-ea"/>
              </a:rPr>
              <a:t>week 43 performance Report | FSAS&amp;S Section</a:t>
            </a:r>
            <a:endParaRPr lang="en-US" b="1" dirty="0">
              <a:solidFill>
                <a:schemeClr val="bg1"/>
              </a:solidFill>
              <a:sym typeface="+mn-ea"/>
            </a:endParaRPr>
          </a:p>
        </p:txBody>
      </p:sp>
      <p:graphicFrame>
        <p:nvGraphicFramePr>
          <p:cNvPr id="10" name="Table 9"/>
          <p:cNvGraphicFramePr/>
          <p:nvPr>
            <p:custDataLst>
              <p:tags r:id="rId1"/>
            </p:custDataLst>
          </p:nvPr>
        </p:nvGraphicFramePr>
        <p:xfrm>
          <a:off x="6462395" y="1396365"/>
          <a:ext cx="5589270" cy="3903345"/>
        </p:xfrm>
        <a:graphic>
          <a:graphicData uri="http://schemas.openxmlformats.org/drawingml/2006/table">
            <a:tbl>
              <a:tblPr/>
              <a:tblGrid>
                <a:gridCol w="4159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0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90245"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</a:rPr>
                        <a:t>TYPE OF ACTIVITY</a:t>
                      </a:r>
                    </a:p>
                  </a:txBody>
                  <a:tcPr marL="6667" marR="6667" marT="666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94DC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</a:rPr>
                        <a:t>The Number of Activities Performed</a:t>
                      </a:r>
                    </a:p>
                  </a:txBody>
                  <a:tcPr marL="6667" marR="6667" marT="666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94DC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155"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Short number terminate from Fixed Number ,ISDN , SIP and SMS order closed (10)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5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1530"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Short code 3 and 4 Digits configuration for Fixed Number, ISDN SIP service and SMS orders closed (09)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9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IMS  SIP, GPON Combo service configuration (02)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10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6915"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Online Support PSTN Migration,Incoming and Outgoing call solution,Caller Id Display,Routing for O&amp;M, Enterprise &amp; Others Stakeholders (06)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277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pPr algn="l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Centrex group configuration(Hunting as PBX) (01)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400" b="0" i="0">
                          <a:solidFill>
                            <a:srgbClr val="FFFFFF"/>
                          </a:solidFill>
                          <a:latin typeface="Arial" panose="020B0604020202020204"/>
                          <a:ea typeface="Arial" panose="020B0604020202020204"/>
                        </a:rPr>
                        <a:t>458</a:t>
                      </a:r>
                    </a:p>
                  </a:txBody>
                  <a:tcPr marL="6667" marR="6667" marT="6667" marB="0" anchor="ctr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b"/>
                      <a:r>
                        <a:rPr sz="1400" b="0" i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</a:rPr>
                        <a:t>Total</a:t>
                      </a:r>
                    </a:p>
                  </a:txBody>
                  <a:tcPr marL="6667" marR="6667" marT="6667" marB="0" anchor="b">
                    <a:lnL>
                      <a:noFill/>
                    </a:lnL>
                    <a:lnR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94DC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1400" b="0" i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</a:rPr>
                        <a:t>759</a:t>
                      </a:r>
                    </a:p>
                  </a:txBody>
                  <a:tcPr marL="6667" marR="6667" marT="6667" marB="0" anchor="b">
                    <a:lnL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dashDot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94DC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0l3tGnBXHnLO7fGoc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0l3tGnBXHnLO7fGoc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0l3tGnBXHnLO7fGoc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Ihm28IR6mzT6YlpJB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0l3tGnBXHnLO7fGoc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0l3tGnBXHnLO7fGoc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WnW2Zct22o9.UbOaG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40*307"/>
  <p:tag name="TABLE_ENDDRAG_RECT" val="508*124*440*30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nzrLCpM6CUf8TRNRbP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heme1">
  <a:themeElements>
    <a:clrScheme name="Damask">
      <a:dk1>
        <a:sysClr val="windowText" lastClr="000000"/>
      </a:dk1>
      <a:lt1>
        <a:sysClr val="window" lastClr="FFFFFF"/>
      </a:lt1>
      <a:dk2>
        <a:srgbClr val="2A5B7F"/>
      </a:dk2>
      <a:lt2>
        <a:srgbClr val="ABDAFC"/>
      </a:lt2>
      <a:accent1>
        <a:srgbClr val="9EC544"/>
      </a:accent1>
      <a:accent2>
        <a:srgbClr val="50BEA3"/>
      </a:accent2>
      <a:accent3>
        <a:srgbClr val="4A9CCC"/>
      </a:accent3>
      <a:accent4>
        <a:srgbClr val="9A66CA"/>
      </a:accent4>
      <a:accent5>
        <a:srgbClr val="C54F71"/>
      </a:accent5>
      <a:accent6>
        <a:srgbClr val="DE9C3C"/>
      </a:accent6>
      <a:hlink>
        <a:srgbClr val="6BA9DA"/>
      </a:hlink>
      <a:folHlink>
        <a:srgbClr val="A0BCD3"/>
      </a:folHlink>
    </a:clrScheme>
    <a:fontScheme name="Damask">
      <a:majorFont>
        <a:latin typeface="Bookman Old Style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amask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105000"/>
                <a:lumMod val="110000"/>
              </a:schemeClr>
            </a:gs>
            <a:gs pos="100000">
              <a:schemeClr val="phClr">
                <a:tint val="78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0000"/>
                <a:lumMod val="104000"/>
              </a:schemeClr>
            </a:gs>
            <a:gs pos="69000">
              <a:schemeClr val="phClr">
                <a:shade val="86000"/>
                <a:satMod val="130000"/>
                <a:lumMod val="102000"/>
              </a:schemeClr>
            </a:gs>
            <a:gs pos="100000">
              <a:schemeClr val="phClr">
                <a:shade val="72000"/>
                <a:satMod val="130000"/>
                <a:lum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sy="96000" rotWithShape="0">
              <a:srgbClr val="000000">
                <a:alpha val="54000"/>
              </a:srgbClr>
            </a:outerShdw>
          </a:effectLst>
        </a:effectStyle>
        <a:effectStyle>
          <a:effectLst>
            <a:outerShdw blurRad="76200" dist="38100" dir="5400000" algn="ctr" rotWithShape="0">
              <a:srgbClr val="000000">
                <a:alpha val="76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prstMaterial="matte">
            <a:bevelT w="25400" h="254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18000"/>
                <a:satMod val="160000"/>
                <a:lumMod val="28000"/>
              </a:schemeClr>
              <a:schemeClr val="phClr">
                <a:tint val="95000"/>
                <a:satMod val="160000"/>
                <a:lumMod val="116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5_Custom Design">
  <a:themeElements>
    <a:clrScheme name="EthioCol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DC63C"/>
      </a:accent1>
      <a:accent2>
        <a:srgbClr val="00AB4E"/>
      </a:accent2>
      <a:accent3>
        <a:srgbClr val="0090BC"/>
      </a:accent3>
      <a:accent4>
        <a:srgbClr val="034EA2"/>
      </a:accent4>
      <a:accent5>
        <a:srgbClr val="ED1C24"/>
      </a:accent5>
      <a:accent6>
        <a:srgbClr val="FFC20E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ptos Narrow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482</TotalTime>
  <Words>320</Words>
  <Application>Microsoft Office PowerPoint</Application>
  <PresentationFormat>Widescreen</PresentationFormat>
  <Paragraphs>66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6" baseType="lpstr">
      <vt:lpstr>MS PGothic</vt:lpstr>
      <vt:lpstr>Aptos</vt:lpstr>
      <vt:lpstr>Aptos Display</vt:lpstr>
      <vt:lpstr>Arial</vt:lpstr>
      <vt:lpstr>Arial Black</vt:lpstr>
      <vt:lpstr>Arial heading</vt:lpstr>
      <vt:lpstr>Bookman Old Style</vt:lpstr>
      <vt:lpstr>Calibri</vt:lpstr>
      <vt:lpstr>Calibri Light</vt:lpstr>
      <vt:lpstr>Nyala</vt:lpstr>
      <vt:lpstr>Rockwell</vt:lpstr>
      <vt:lpstr>Wingdings</vt:lpstr>
      <vt:lpstr>Theme1</vt:lpstr>
      <vt:lpstr>8_Custom Design</vt:lpstr>
      <vt:lpstr>21_Custom Design</vt:lpstr>
      <vt:lpstr>18_Custom Design</vt:lpstr>
      <vt:lpstr>Office Theme</vt:lpstr>
      <vt:lpstr>35_Custom Design</vt:lpstr>
      <vt:lpstr>1_Theme1</vt:lpstr>
      <vt:lpstr>1_Office Theme</vt:lpstr>
      <vt:lpstr>2_Office Theme</vt:lpstr>
      <vt:lpstr>19_Custom Design</vt:lpstr>
      <vt:lpstr>4_Office Theme</vt:lpstr>
      <vt:lpstr>3_Office Them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SAS&amp;S Section</dc:creator>
  <cp:lastModifiedBy>yonas mulugeta</cp:lastModifiedBy>
  <cp:revision>164</cp:revision>
  <dcterms:created xsi:type="dcterms:W3CDTF">2025-09-29T08:46:00Z</dcterms:created>
  <dcterms:modified xsi:type="dcterms:W3CDTF">2025-11-08T11:5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B309800808C4CA1A4E339A42B1DED53_13</vt:lpwstr>
  </property>
  <property fmtid="{D5CDD505-2E9C-101B-9397-08002B2CF9AE}" pid="3" name="KSOProductBuildVer">
    <vt:lpwstr>1033-12.2.0.20326</vt:lpwstr>
  </property>
</Properties>
</file>